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4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ParentxSegment" id="{E4F70867-57B9-4B78-BB78-7C780E76478A}">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notesMaster" Target="notesMasters/notesMaster1.xml"/><Relationship Id="rId42" Type="http://schemas.openxmlformats.org/officeDocument/2006/relationships/presProps" Target="presProps.xml"/><Relationship Id="rId43" Type="http://schemas.openxmlformats.org/officeDocument/2006/relationships/viewProps" Target="viewProps.xml"/><Relationship Id="rId44" Type="http://schemas.openxmlformats.org/officeDocument/2006/relationships/theme" Target="theme/theme1.xml"/><Relationship Id="rId45" Type="http://schemas.openxmlformats.org/officeDocument/2006/relationships/tableStyles" Target="tableStyles.xml"/><Relationship Id="rId46" Type="http://schemas.microsoft.com/office/2015/10/relationships/revisionInfo" Target="revisionInfo.xml"/><Relationship Id="rId47"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97801642155172</c:v>
                </c:pt>
                <c:pt idx="1">
                  <c:v>0.015499323616429533</c:v>
                </c:pt>
                <c:pt idx="2">
                  <c:v>0.020328229017232035</c:v>
                </c:pt>
                <c:pt idx="3">
                  <c:v>0.04426378969025742</c:v>
                </c:pt>
                <c:pt idx="4">
                  <c:v>0.06509450789254996</c:v>
                </c:pt>
                <c:pt idx="5">
                  <c:v>0.10204826864942468</c:v>
                </c:pt>
                <c:pt idx="6">
                  <c:v>0.12638325694294628</c:v>
                </c:pt>
                <c:pt idx="7">
                  <c:v>0.1760557863873334</c:v>
                </c:pt>
                <c:pt idx="8">
                  <c:v>0.25472703021903487</c:v>
                </c:pt>
                <c:pt idx="9">
                  <c:v>0.09896421392959569</c:v>
                </c:pt>
                <c:pt idx="10">
                  <c:v>0.0778377920130409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22975844533108533</c:v>
                </c:pt>
                <c:pt idx="2">
                  <c:v>0.004096886284363259</c:v>
                </c:pt>
                <c:pt idx="5">
                  <c:v>0.004937985082675845</c:v>
                </c:pt>
                <c:pt idx="6">
                  <c:v>0.00376961779651529</c:v>
                </c:pt>
                <c:pt idx="7">
                  <c:v>0.005873871034380496</c:v>
                </c:pt>
                <c:pt idx="8">
                  <c:v>0.007419045823434118</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07302004204151244</c:v>
                </c:pt>
                <c:pt idx="2">
                  <c:v>0.0009728323654953952</c:v>
                </c:pt>
                <c:pt idx="3">
                  <c:v>0.012506999394777668</c:v>
                </c:pt>
                <c:pt idx="4">
                  <c:v>0.004202003197264937</c:v>
                </c:pt>
                <c:pt idx="5">
                  <c:v>0.015661799088835204</c:v>
                </c:pt>
                <c:pt idx="6">
                  <c:v>0.021301084224185515</c:v>
                </c:pt>
                <c:pt idx="7">
                  <c:v>0.022186657168088413</c:v>
                </c:pt>
                <c:pt idx="8">
                  <c:v>0.05438571246522866</c:v>
                </c:pt>
                <c:pt idx="9">
                  <c:v>0.017908213054728502</c:v>
                </c:pt>
                <c:pt idx="10">
                  <c:v>0.01533886148180537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05201335683300573</c:v>
                </c:pt>
                <c:pt idx="8">
                  <c:v>0.0008072866203589061</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8805202496150643</c:v>
                </c:pt>
                <c:pt idx="1">
                  <c:v>0.0008365609396561487</c:v>
                </c:pt>
                <c:pt idx="2">
                  <c:v>0.004393435086665038</c:v>
                </c:pt>
                <c:pt idx="3">
                  <c:v>0.01968322194907931</c:v>
                </c:pt>
                <c:pt idx="4">
                  <c:v>0.005138682274131464</c:v>
                </c:pt>
                <c:pt idx="5">
                  <c:v>0.01742587120463803</c:v>
                </c:pt>
                <c:pt idx="6">
                  <c:v>0.026259398357063143</c:v>
                </c:pt>
                <c:pt idx="7">
                  <c:v>0.044698944394414075</c:v>
                </c:pt>
                <c:pt idx="8">
                  <c:v>0.031708573478283146</c:v>
                </c:pt>
                <c:pt idx="9">
                  <c:v>0.028496393961659157</c:v>
                </c:pt>
                <c:pt idx="10">
                  <c:v>0.0340217769314923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902193354762219</c:v>
                </c:pt>
                <c:pt idx="1">
                  <c:v>0.0020092817176591967</c:v>
                </c:pt>
                <c:pt idx="2">
                  <c:v>0.002075968585710743</c:v>
                </c:pt>
                <c:pt idx="3">
                  <c:v>0.003602428403839386</c:v>
                </c:pt>
                <c:pt idx="4">
                  <c:v>0.01855933054781863</c:v>
                </c:pt>
                <c:pt idx="5">
                  <c:v>0.04489684129746921</c:v>
                </c:pt>
                <c:pt idx="6">
                  <c:v>0.03705695387087179</c:v>
                </c:pt>
                <c:pt idx="7">
                  <c:v>0.04851663496801073</c:v>
                </c:pt>
                <c:pt idx="8">
                  <c:v>0.05806790908436186</c:v>
                </c:pt>
                <c:pt idx="9">
                  <c:v>0.036952581382464156</c:v>
                </c:pt>
                <c:pt idx="10">
                  <c:v>0.0192528489294969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82005865052735</c:v>
                </c:pt>
                <c:pt idx="1">
                  <c:v>0.0015657351674276173</c:v>
                </c:pt>
                <c:pt idx="2">
                  <c:v>0.002799516147037759</c:v>
                </c:pt>
                <c:pt idx="3">
                  <c:v>0.0021314125567307774</c:v>
                </c:pt>
                <c:pt idx="4">
                  <c:v>0.008964208437320782</c:v>
                </c:pt>
                <c:pt idx="5">
                  <c:v>0.015764691424802583</c:v>
                </c:pt>
                <c:pt idx="6">
                  <c:v>0.03479869694614687</c:v>
                </c:pt>
                <c:pt idx="7">
                  <c:v>0.027405787727553806</c:v>
                </c:pt>
                <c:pt idx="8">
                  <c:v>0.06318641884615243</c:v>
                </c:pt>
                <c:pt idx="9">
                  <c:v>0.0136442139073102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54662527329399</c:v>
                </c:pt>
                <c:pt idx="1">
                  <c:v>0.009922473300098737</c:v>
                </c:pt>
                <c:pt idx="2">
                  <c:v>0.016234090341292837</c:v>
                </c:pt>
                <c:pt idx="3">
                  <c:v>0.07892262515697393</c:v>
                </c:pt>
                <c:pt idx="4">
                  <c:v>0.06113448454300473</c:v>
                </c:pt>
                <c:pt idx="5">
                  <c:v>0.11702285157285876</c:v>
                </c:pt>
                <c:pt idx="6">
                  <c:v>0.1260705027379858</c:v>
                </c:pt>
                <c:pt idx="7">
                  <c:v>0.17930534937108045</c:v>
                </c:pt>
                <c:pt idx="8">
                  <c:v>0.22856998037928503</c:v>
                </c:pt>
                <c:pt idx="9">
                  <c:v>0.10314664132259938</c:v>
                </c:pt>
                <c:pt idx="10">
                  <c:v>0.0642047485418804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89015268346008</c:v>
                </c:pt>
                <c:pt idx="1">
                  <c:v>0.003958746050512134</c:v>
                </c:pt>
                <c:pt idx="2">
                  <c:v>0.007546814908141316</c:v>
                </c:pt>
                <c:pt idx="3">
                  <c:v>0.003949905477634542</c:v>
                </c:pt>
                <c:pt idx="4">
                  <c:v>0.009580758896778134</c:v>
                </c:pt>
                <c:pt idx="5">
                  <c:v>0.011612311641996984</c:v>
                </c:pt>
                <c:pt idx="6">
                  <c:v>0.023854424227170108</c:v>
                </c:pt>
                <c:pt idx="7">
                  <c:v>0.032431104157323996</c:v>
                </c:pt>
                <c:pt idx="8">
                  <c:v>0.06960364171776422</c:v>
                </c:pt>
                <c:pt idx="9">
                  <c:v>0.013049383388737455</c:v>
                </c:pt>
                <c:pt idx="10">
                  <c:v>0.000515924507616378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527667394670337</c:v>
                </c:pt>
                <c:pt idx="1">
                  <c:v>0.010598397611318512</c:v>
                </c:pt>
                <c:pt idx="2">
                  <c:v>0.01716149788998878</c:v>
                </c:pt>
                <c:pt idx="3">
                  <c:v>0.06657601141707845</c:v>
                </c:pt>
                <c:pt idx="4">
                  <c:v>0.049079788619134326</c:v>
                </c:pt>
                <c:pt idx="5">
                  <c:v>0.1185220621878273</c:v>
                </c:pt>
                <c:pt idx="6">
                  <c:v>0.13215882489295885</c:v>
                </c:pt>
                <c:pt idx="7">
                  <c:v>0.17983556640418588</c:v>
                </c:pt>
                <c:pt idx="8">
                  <c:v>0.23095884548151405</c:v>
                </c:pt>
                <c:pt idx="9">
                  <c:v>0.10991926140650649</c:v>
                </c:pt>
                <c:pt idx="10">
                  <c:v>0.0686620766948170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7986231194130583</c:v>
                </c:pt>
                <c:pt idx="1">
                  <c:v>0.003159034912849572</c:v>
                </c:pt>
                <c:pt idx="2">
                  <c:v>0.0005475624801782846</c:v>
                </c:pt>
                <c:pt idx="3">
                  <c:v>0.0014049846987632627</c:v>
                </c:pt>
                <c:pt idx="4">
                  <c:v>0.003370787155903627</c:v>
                </c:pt>
                <c:pt idx="5">
                  <c:v>0.008606008068159633</c:v>
                </c:pt>
                <c:pt idx="6">
                  <c:v>0.006622775989863206</c:v>
                </c:pt>
                <c:pt idx="7">
                  <c:v>0.007445532029497834</c:v>
                </c:pt>
                <c:pt idx="8">
                  <c:v>0.003553717300147474</c:v>
                </c:pt>
                <c:pt idx="9">
                  <c:v>0.001045090242085297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82005865052735</c:v>
                </c:pt>
                <c:pt idx="1">
                  <c:v>0.0015657351674276173</c:v>
                </c:pt>
                <c:pt idx="2">
                  <c:v>0.002799516147037759</c:v>
                </c:pt>
                <c:pt idx="3">
                  <c:v>0.0021314125567307774</c:v>
                </c:pt>
                <c:pt idx="4">
                  <c:v>0.008964208437320782</c:v>
                </c:pt>
                <c:pt idx="5">
                  <c:v>0.015764691424802583</c:v>
                </c:pt>
                <c:pt idx="6">
                  <c:v>0.03479869694614687</c:v>
                </c:pt>
                <c:pt idx="7">
                  <c:v>0.027405787727553806</c:v>
                </c:pt>
                <c:pt idx="8">
                  <c:v>0.06318641884615243</c:v>
                </c:pt>
                <c:pt idx="9">
                  <c:v>0.0136442139073102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82005865052735</c:v>
                </c:pt>
                <c:pt idx="1">
                  <c:v>0.0015657351674276173</c:v>
                </c:pt>
                <c:pt idx="2">
                  <c:v>0.002799516147037759</c:v>
                </c:pt>
                <c:pt idx="3">
                  <c:v>0.0021314125567307774</c:v>
                </c:pt>
                <c:pt idx="4">
                  <c:v>0.008964208437320782</c:v>
                </c:pt>
                <c:pt idx="5">
                  <c:v>0.015764691424802583</c:v>
                </c:pt>
                <c:pt idx="6">
                  <c:v>0.03479869694614687</c:v>
                </c:pt>
                <c:pt idx="7">
                  <c:v>0.027405787727553806</c:v>
                </c:pt>
                <c:pt idx="8">
                  <c:v>0.06318641884615243</c:v>
                </c:pt>
                <c:pt idx="9">
                  <c:v>0.0136442139073102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82005865052735</c:v>
                </c:pt>
                <c:pt idx="1">
                  <c:v>0.0015657351674276173</c:v>
                </c:pt>
                <c:pt idx="2">
                  <c:v>0.002799516147037759</c:v>
                </c:pt>
                <c:pt idx="3">
                  <c:v>0.0021314125567307774</c:v>
                </c:pt>
                <c:pt idx="4">
                  <c:v>0.008964208437320782</c:v>
                </c:pt>
                <c:pt idx="5">
                  <c:v>0.015764691424802583</c:v>
                </c:pt>
                <c:pt idx="6">
                  <c:v>0.03479869694614687</c:v>
                </c:pt>
                <c:pt idx="7">
                  <c:v>0.027405787727553806</c:v>
                </c:pt>
                <c:pt idx="8">
                  <c:v>0.06318641884615243</c:v>
                </c:pt>
                <c:pt idx="9">
                  <c:v>0.0136442139073102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54662527329399</c:v>
                </c:pt>
                <c:pt idx="1">
                  <c:v>0.009922473300098737</c:v>
                </c:pt>
                <c:pt idx="2">
                  <c:v>0.016234090341292837</c:v>
                </c:pt>
                <c:pt idx="3">
                  <c:v>0.07892262515697393</c:v>
                </c:pt>
                <c:pt idx="4">
                  <c:v>0.06113448454300473</c:v>
                </c:pt>
                <c:pt idx="5">
                  <c:v>0.11702285157285876</c:v>
                </c:pt>
                <c:pt idx="6">
                  <c:v>0.1260705027379858</c:v>
                </c:pt>
                <c:pt idx="7">
                  <c:v>0.17930534937108045</c:v>
                </c:pt>
                <c:pt idx="8">
                  <c:v>0.22856998037928503</c:v>
                </c:pt>
                <c:pt idx="9">
                  <c:v>0.10314664132259938</c:v>
                </c:pt>
                <c:pt idx="10">
                  <c:v>0.0642047485418804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0096130298614627</c:v>
                </c:pt>
                <c:pt idx="3">
                  <c:v>0.2686462022630614</c:v>
                </c:pt>
                <c:pt idx="4">
                  <c:v>0.24445258049451574</c:v>
                </c:pt>
                <c:pt idx="5">
                  <c:v>0.09709962314476883</c:v>
                </c:pt>
                <c:pt idx="6">
                  <c:v>0.029819821017562358</c:v>
                </c:pt>
                <c:pt idx="7">
                  <c:v>0.16448722706132768</c:v>
                </c:pt>
                <c:pt idx="8">
                  <c:v>0.192282414570228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97801642155172</c:v>
                </c:pt>
                <c:pt idx="1">
                  <c:v>0.015499323616429533</c:v>
                </c:pt>
                <c:pt idx="2">
                  <c:v>0.020328229017232035</c:v>
                </c:pt>
                <c:pt idx="3">
                  <c:v>0.04426378969025742</c:v>
                </c:pt>
                <c:pt idx="4">
                  <c:v>0.06509450789254996</c:v>
                </c:pt>
                <c:pt idx="5">
                  <c:v>0.10204826864942468</c:v>
                </c:pt>
                <c:pt idx="6">
                  <c:v>0.12638325694294628</c:v>
                </c:pt>
                <c:pt idx="7">
                  <c:v>0.1760557863873334</c:v>
                </c:pt>
                <c:pt idx="8">
                  <c:v>0.25472703021903487</c:v>
                </c:pt>
                <c:pt idx="9">
                  <c:v>0.09896421392959569</c:v>
                </c:pt>
                <c:pt idx="10">
                  <c:v>0.0778377920130409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54662527329399</c:v>
                </c:pt>
                <c:pt idx="1">
                  <c:v>0.009922473300098737</c:v>
                </c:pt>
                <c:pt idx="2">
                  <c:v>0.016234090341292837</c:v>
                </c:pt>
                <c:pt idx="3">
                  <c:v>0.07892262515697393</c:v>
                </c:pt>
                <c:pt idx="4">
                  <c:v>0.06113448454300473</c:v>
                </c:pt>
                <c:pt idx="5">
                  <c:v>0.11702285157285876</c:v>
                </c:pt>
                <c:pt idx="6">
                  <c:v>0.1260705027379858</c:v>
                </c:pt>
                <c:pt idx="7">
                  <c:v>0.17930534937108045</c:v>
                </c:pt>
                <c:pt idx="8">
                  <c:v>0.22856998037928503</c:v>
                </c:pt>
                <c:pt idx="9">
                  <c:v>0.10314664132259938</c:v>
                </c:pt>
                <c:pt idx="10">
                  <c:v>0.0642047485418804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0096130298614627</c:v>
                </c:pt>
                <c:pt idx="3">
                  <c:v>0.2686462022630614</c:v>
                </c:pt>
                <c:pt idx="4">
                  <c:v>0.24445258049451574</c:v>
                </c:pt>
                <c:pt idx="5">
                  <c:v>0.09709962314476883</c:v>
                </c:pt>
                <c:pt idx="6">
                  <c:v>0.029819821017562358</c:v>
                </c:pt>
                <c:pt idx="7">
                  <c:v>0.16448722706132768</c:v>
                </c:pt>
                <c:pt idx="8">
                  <c:v>0.192282414570228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891005521236</c:v>
                </c:pt>
                <c:pt idx="1">
                  <c:v>0.01625103510363808</c:v>
                </c:pt>
                <c:pt idx="2">
                  <c:v>0.02126693937263152</c:v>
                </c:pt>
                <c:pt idx="3">
                  <c:v>0.03945072467447183</c:v>
                </c:pt>
                <c:pt idx="4">
                  <c:v>0.051534564696052484</c:v>
                </c:pt>
                <c:pt idx="5">
                  <c:v>0.10248226676541283</c:v>
                </c:pt>
                <c:pt idx="6">
                  <c:v>0.13074905745117735</c:v>
                </c:pt>
                <c:pt idx="7">
                  <c:v>0.17785855434784298</c:v>
                </c:pt>
                <c:pt idx="8">
                  <c:v>0.2563887372525113</c:v>
                </c:pt>
                <c:pt idx="9">
                  <c:v>0.10346326897165924</c:v>
                </c:pt>
                <c:pt idx="10">
                  <c:v>0.0817657508124787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97801642155172</c:v>
                </c:pt>
                <c:pt idx="1">
                  <c:v>0.015499323616429533</c:v>
                </c:pt>
                <c:pt idx="2">
                  <c:v>0.020328229017232035</c:v>
                </c:pt>
                <c:pt idx="3">
                  <c:v>0.04426378969025742</c:v>
                </c:pt>
                <c:pt idx="4">
                  <c:v>0.06509450789254996</c:v>
                </c:pt>
                <c:pt idx="5">
                  <c:v>0.10204826864942468</c:v>
                </c:pt>
                <c:pt idx="6">
                  <c:v>0.12638325694294628</c:v>
                </c:pt>
                <c:pt idx="7">
                  <c:v>0.1760557863873334</c:v>
                </c:pt>
                <c:pt idx="8">
                  <c:v>0.25472703021903487</c:v>
                </c:pt>
                <c:pt idx="9">
                  <c:v>0.09896421392959569</c:v>
                </c:pt>
                <c:pt idx="10">
                  <c:v>0.0778377920130409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891005521236</c:v>
                </c:pt>
                <c:pt idx="1">
                  <c:v>0.01625103510363808</c:v>
                </c:pt>
                <c:pt idx="2">
                  <c:v>0.02126693937263152</c:v>
                </c:pt>
                <c:pt idx="3">
                  <c:v>0.03945072467447183</c:v>
                </c:pt>
                <c:pt idx="4">
                  <c:v>0.051534564696052484</c:v>
                </c:pt>
                <c:pt idx="5">
                  <c:v>0.10248226676541283</c:v>
                </c:pt>
                <c:pt idx="6">
                  <c:v>0.13074905745117735</c:v>
                </c:pt>
                <c:pt idx="7">
                  <c:v>0.17785855434784298</c:v>
                </c:pt>
                <c:pt idx="8">
                  <c:v>0.2563887372525113</c:v>
                </c:pt>
                <c:pt idx="9">
                  <c:v>0.10346326897165924</c:v>
                </c:pt>
                <c:pt idx="10">
                  <c:v>0.0817657508124787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4703451690947648</c:v>
                </c:pt>
                <c:pt idx="1">
                  <c:v>0.0008420719998077275</c:v>
                </c:pt>
                <c:pt idx="2">
                  <c:v>0.004756052063423903</c:v>
                </c:pt>
                <c:pt idx="3">
                  <c:v>0.011329416012902082</c:v>
                </c:pt>
                <c:pt idx="4">
                  <c:v>0.015443287898431982</c:v>
                </c:pt>
                <c:pt idx="5">
                  <c:v>0.017246562942353848</c:v>
                </c:pt>
                <c:pt idx="6">
                  <c:v>0.010157388236005904</c:v>
                </c:pt>
                <c:pt idx="7">
                  <c:v>0.03164398480533294</c:v>
                </c:pt>
                <c:pt idx="8">
                  <c:v>0.020454418240051602</c:v>
                </c:pt>
                <c:pt idx="9">
                  <c:v>0.006197762362887271</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1000907978731899</c:v>
                </c:pt>
                <c:pt idx="4">
                  <c:v>0.0016753766326639032</c:v>
                </c:pt>
                <c:pt idx="5">
                  <c:v>0.007512067771658688</c:v>
                </c:pt>
                <c:pt idx="6">
                  <c:v>0.0028291378416455807</c:v>
                </c:pt>
                <c:pt idx="7">
                  <c:v>0.0071963882763930506</c:v>
                </c:pt>
                <c:pt idx="8">
                  <c:v>0.0030042540751993346</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2223635409440632</c:v>
                </c:pt>
                <c:pt idx="3">
                  <c:v>0.008263904570286508</c:v>
                </c:pt>
                <c:pt idx="4">
                  <c:v>0.0032244798003789273</c:v>
                </c:pt>
                <c:pt idx="5">
                  <c:v>0.008273784216815861</c:v>
                </c:pt>
                <c:pt idx="6">
                  <c:v>0.022474963516982076</c:v>
                </c:pt>
                <c:pt idx="7">
                  <c:v>0.0199172410384853</c:v>
                </c:pt>
                <c:pt idx="8">
                  <c:v>0.047123298578838714</c:v>
                </c:pt>
                <c:pt idx="9">
                  <c:v>0.02160668785013409</c:v>
                </c:pt>
                <c:pt idx="10">
                  <c:v>0.01705034290444128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5333346112460114</c:v>
                </c:pt>
                <c:pt idx="1">
                  <c:v>0.0012722169567764958</c:v>
                </c:pt>
                <c:pt idx="2">
                  <c:v>0.0017252282915541106</c:v>
                </c:pt>
                <c:pt idx="3">
                  <c:v>0.001575501224645043</c:v>
                </c:pt>
                <c:pt idx="4">
                  <c:v>0.0027371812875832185</c:v>
                </c:pt>
                <c:pt idx="5">
                  <c:v>0.008057766818763053</c:v>
                </c:pt>
                <c:pt idx="6">
                  <c:v>0.013332856105778553</c:v>
                </c:pt>
                <c:pt idx="7">
                  <c:v>0.00434412975081401</c:v>
                </c:pt>
                <c:pt idx="8">
                  <c:v>0.001757279873215445</c:v>
                </c:pt>
                <c:pt idx="9">
                  <c:v>0.000854966153746905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531667993871335</c:v>
                </c:pt>
                <c:pt idx="1">
                  <c:v>0.0029670087020222157</c:v>
                </c:pt>
                <c:pt idx="2">
                  <c:v>0.003974113438506448</c:v>
                </c:pt>
                <c:pt idx="3">
                  <c:v>0.010807503485784636</c:v>
                </c:pt>
                <c:pt idx="4">
                  <c:v>0.014430319479896448</c:v>
                </c:pt>
                <c:pt idx="5">
                  <c:v>0.01623842318669991</c:v>
                </c:pt>
                <c:pt idx="6">
                  <c:v>0.025211935322992318</c:v>
                </c:pt>
                <c:pt idx="7">
                  <c:v>0.0499084421366733</c:v>
                </c:pt>
                <c:pt idx="8">
                  <c:v>0.04340608658395989</c:v>
                </c:pt>
                <c:pt idx="9">
                  <c:v>0.012144580667783556</c:v>
                </c:pt>
                <c:pt idx="10">
                  <c:v>0.0580163998393253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015774232743893</c:v>
                </c:pt>
                <c:pt idx="1">
                  <c:v>0.004987355985078875</c:v>
                </c:pt>
                <c:pt idx="2">
                  <c:v>0.0029158228932860547</c:v>
                </c:pt>
                <c:pt idx="3">
                  <c:v>0.003524493903219018</c:v>
                </c:pt>
                <c:pt idx="4">
                  <c:v>0.006118537332983777</c:v>
                </c:pt>
                <c:pt idx="5">
                  <c:v>0.04105341795878317</c:v>
                </c:pt>
                <c:pt idx="6">
                  <c:v>0.035717490042248376</c:v>
                </c:pt>
                <c:pt idx="7">
                  <c:v>0.03961365245921343</c:v>
                </c:pt>
                <c:pt idx="8">
                  <c:v>0.07404401225868146</c:v>
                </c:pt>
                <c:pt idx="9">
                  <c:v>0.04960988854836996</c:v>
                </c:pt>
                <c:pt idx="10">
                  <c:v>0.005752853234754759</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89015268346008</c:v>
                </c:pt>
                <c:pt idx="1">
                  <c:v>0.003958746050512134</c:v>
                </c:pt>
                <c:pt idx="2">
                  <c:v>0.007546814908141316</c:v>
                </c:pt>
                <c:pt idx="3">
                  <c:v>0.003949905477634542</c:v>
                </c:pt>
                <c:pt idx="4">
                  <c:v>0.009580758896778134</c:v>
                </c:pt>
                <c:pt idx="5">
                  <c:v>0.011612311641996984</c:v>
                </c:pt>
                <c:pt idx="6">
                  <c:v>0.023854424227170108</c:v>
                </c:pt>
                <c:pt idx="7">
                  <c:v>0.032431104157323996</c:v>
                </c:pt>
                <c:pt idx="8">
                  <c:v>0.06960364171776422</c:v>
                </c:pt>
                <c:pt idx="9">
                  <c:v>0.013049383388737455</c:v>
                </c:pt>
                <c:pt idx="10">
                  <c:v>0.000515924507616378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97801642155172</c:v>
                </c:pt>
                <c:pt idx="1">
                  <c:v>0.015499323616429533</c:v>
                </c:pt>
                <c:pt idx="2">
                  <c:v>0.020328229017232035</c:v>
                </c:pt>
                <c:pt idx="3">
                  <c:v>0.04426378969025742</c:v>
                </c:pt>
                <c:pt idx="4">
                  <c:v>0.06509450789254996</c:v>
                </c:pt>
                <c:pt idx="5">
                  <c:v>0.10204826864942468</c:v>
                </c:pt>
                <c:pt idx="6">
                  <c:v>0.12638325694294628</c:v>
                </c:pt>
                <c:pt idx="7">
                  <c:v>0.1760557863873334</c:v>
                </c:pt>
                <c:pt idx="8">
                  <c:v>0.25472703021903487</c:v>
                </c:pt>
                <c:pt idx="9">
                  <c:v>0.09896421392959569</c:v>
                </c:pt>
                <c:pt idx="10">
                  <c:v>0.0778377920130409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891005521236</c:v>
                </c:pt>
                <c:pt idx="1">
                  <c:v>0.01625103510363808</c:v>
                </c:pt>
                <c:pt idx="2">
                  <c:v>0.02126693937263152</c:v>
                </c:pt>
                <c:pt idx="3">
                  <c:v>0.03945072467447183</c:v>
                </c:pt>
                <c:pt idx="4">
                  <c:v>0.051534564696052484</c:v>
                </c:pt>
                <c:pt idx="5">
                  <c:v>0.10248226676541283</c:v>
                </c:pt>
                <c:pt idx="6">
                  <c:v>0.13074905745117735</c:v>
                </c:pt>
                <c:pt idx="7">
                  <c:v>0.17785855434784298</c:v>
                </c:pt>
                <c:pt idx="8">
                  <c:v>0.2563887372525113</c:v>
                </c:pt>
                <c:pt idx="9">
                  <c:v>0.10346326897165924</c:v>
                </c:pt>
                <c:pt idx="10">
                  <c:v>0.0817657508124787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5333346112460114</c:v>
                </c:pt>
                <c:pt idx="1">
                  <c:v>0.0012722169567764958</c:v>
                </c:pt>
                <c:pt idx="2">
                  <c:v>0.0017252282915541106</c:v>
                </c:pt>
                <c:pt idx="3">
                  <c:v>0.001575501224645043</c:v>
                </c:pt>
                <c:pt idx="4">
                  <c:v>0.0027371812875832185</c:v>
                </c:pt>
                <c:pt idx="5">
                  <c:v>0.008057766818763053</c:v>
                </c:pt>
                <c:pt idx="6">
                  <c:v>0.013332856105778553</c:v>
                </c:pt>
                <c:pt idx="7">
                  <c:v>0.00434412975081401</c:v>
                </c:pt>
                <c:pt idx="8">
                  <c:v>0.001757279873215445</c:v>
                </c:pt>
                <c:pt idx="9">
                  <c:v>0.000854966153746905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89015268346008</c:v>
                </c:pt>
                <c:pt idx="1">
                  <c:v>0.003958746050512134</c:v>
                </c:pt>
                <c:pt idx="2">
                  <c:v>0.007546814908141316</c:v>
                </c:pt>
                <c:pt idx="3">
                  <c:v>0.003949905477634542</c:v>
                </c:pt>
                <c:pt idx="4">
                  <c:v>0.009580758896778134</c:v>
                </c:pt>
                <c:pt idx="5">
                  <c:v>0.011612311641996984</c:v>
                </c:pt>
                <c:pt idx="6">
                  <c:v>0.023854424227170108</c:v>
                </c:pt>
                <c:pt idx="7">
                  <c:v>0.032431104157323996</c:v>
                </c:pt>
                <c:pt idx="8">
                  <c:v>0.06960364171776422</c:v>
                </c:pt>
                <c:pt idx="9">
                  <c:v>0.013049383388737455</c:v>
                </c:pt>
                <c:pt idx="10">
                  <c:v>0.000515924507616378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89015268346008</c:v>
                </c:pt>
                <c:pt idx="1">
                  <c:v>0.003958746050512134</c:v>
                </c:pt>
                <c:pt idx="2">
                  <c:v>0.007546814908141316</c:v>
                </c:pt>
                <c:pt idx="3">
                  <c:v>0.003949905477634542</c:v>
                </c:pt>
                <c:pt idx="4">
                  <c:v>0.009580758896778134</c:v>
                </c:pt>
                <c:pt idx="5">
                  <c:v>0.011612311641996984</c:v>
                </c:pt>
                <c:pt idx="6">
                  <c:v>0.023854424227170108</c:v>
                </c:pt>
                <c:pt idx="7">
                  <c:v>0.032431104157323996</c:v>
                </c:pt>
                <c:pt idx="8">
                  <c:v>0.06960364171776422</c:v>
                </c:pt>
                <c:pt idx="9">
                  <c:v>0.013049383388737455</c:v>
                </c:pt>
                <c:pt idx="10">
                  <c:v>0.000515924507616378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89015268346008</c:v>
                </c:pt>
                <c:pt idx="1">
                  <c:v>0.003958746050512134</c:v>
                </c:pt>
                <c:pt idx="2">
                  <c:v>0.007546814908141316</c:v>
                </c:pt>
                <c:pt idx="3">
                  <c:v>0.003949905477634542</c:v>
                </c:pt>
                <c:pt idx="4">
                  <c:v>0.009580758896778134</c:v>
                </c:pt>
                <c:pt idx="5">
                  <c:v>0.011612311641996984</c:v>
                </c:pt>
                <c:pt idx="6">
                  <c:v>0.023854424227170108</c:v>
                </c:pt>
                <c:pt idx="7">
                  <c:v>0.032431104157323996</c:v>
                </c:pt>
                <c:pt idx="8">
                  <c:v>0.06960364171776422</c:v>
                </c:pt>
                <c:pt idx="9">
                  <c:v>0.013049383388737455</c:v>
                </c:pt>
                <c:pt idx="10">
                  <c:v>0.000515924507616378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97801642155172</c:v>
                </c:pt>
                <c:pt idx="1">
                  <c:v>0.015499323616429533</c:v>
                </c:pt>
                <c:pt idx="2">
                  <c:v>0.020328229017232035</c:v>
                </c:pt>
                <c:pt idx="3">
                  <c:v>0.04426378969025742</c:v>
                </c:pt>
                <c:pt idx="4">
                  <c:v>0.06509450789254996</c:v>
                </c:pt>
                <c:pt idx="5">
                  <c:v>0.10204826864942468</c:v>
                </c:pt>
                <c:pt idx="6">
                  <c:v>0.12638325694294628</c:v>
                </c:pt>
                <c:pt idx="7">
                  <c:v>0.1760557863873334</c:v>
                </c:pt>
                <c:pt idx="8">
                  <c:v>0.25472703021903487</c:v>
                </c:pt>
                <c:pt idx="9">
                  <c:v>0.09896421392959569</c:v>
                </c:pt>
                <c:pt idx="10">
                  <c:v>0.0778377920130409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1951705910143</c:v>
                </c:pt>
                <c:pt idx="1">
                  <c:v>0.0006555930918114396</c:v>
                </c:pt>
                <c:pt idx="2">
                  <c:v>0.0018509581616242188</c:v>
                </c:pt>
                <c:pt idx="3">
                  <c:v>0.14860049297530936</c:v>
                </c:pt>
                <c:pt idx="4">
                  <c:v>0.3549097890286358</c:v>
                </c:pt>
                <c:pt idx="5">
                  <c:v>0.09234732243761362</c:v>
                </c:pt>
                <c:pt idx="6">
                  <c:v>0.024790528801785797</c:v>
                </c:pt>
                <c:pt idx="7">
                  <c:v>0.128120390097668</c:v>
                </c:pt>
                <c:pt idx="8">
                  <c:v>0.22102038676692062</c:v>
                </c:pt>
                <c:pt idx="9">
                  <c:v>0.007438768929166038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97801642155172</c:v>
                </c:pt>
                <c:pt idx="1">
                  <c:v>0.015499323616429533</c:v>
                </c:pt>
                <c:pt idx="2">
                  <c:v>0.020328229017232035</c:v>
                </c:pt>
                <c:pt idx="3">
                  <c:v>0.04426378969025742</c:v>
                </c:pt>
                <c:pt idx="4">
                  <c:v>0.06509450789254996</c:v>
                </c:pt>
                <c:pt idx="5">
                  <c:v>0.10204826864942468</c:v>
                </c:pt>
                <c:pt idx="6">
                  <c:v>0.12638325694294628</c:v>
                </c:pt>
                <c:pt idx="7">
                  <c:v>0.1760557863873334</c:v>
                </c:pt>
                <c:pt idx="8">
                  <c:v>0.25472703021903487</c:v>
                </c:pt>
                <c:pt idx="9">
                  <c:v>0.09896421392959569</c:v>
                </c:pt>
                <c:pt idx="10">
                  <c:v>0.0778377920130409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1951705910143</c:v>
                </c:pt>
                <c:pt idx="1">
                  <c:v>0.0006555930918114396</c:v>
                </c:pt>
                <c:pt idx="2">
                  <c:v>0.0018509581616242188</c:v>
                </c:pt>
                <c:pt idx="3">
                  <c:v>0.14860049297530936</c:v>
                </c:pt>
                <c:pt idx="4">
                  <c:v>0.3549097890286358</c:v>
                </c:pt>
                <c:pt idx="5">
                  <c:v>0.09234732243761362</c:v>
                </c:pt>
                <c:pt idx="6">
                  <c:v>0.024790528801785797</c:v>
                </c:pt>
                <c:pt idx="7">
                  <c:v>0.128120390097668</c:v>
                </c:pt>
                <c:pt idx="8">
                  <c:v>0.22102038676692062</c:v>
                </c:pt>
                <c:pt idx="9">
                  <c:v>0.007438768929166038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89015268346008</c:v>
                </c:pt>
                <c:pt idx="1">
                  <c:v>0.003958746050512134</c:v>
                </c:pt>
                <c:pt idx="2">
                  <c:v>0.007546814908141316</c:v>
                </c:pt>
                <c:pt idx="3">
                  <c:v>0.003949905477634542</c:v>
                </c:pt>
                <c:pt idx="4">
                  <c:v>0.009580758896778134</c:v>
                </c:pt>
                <c:pt idx="5">
                  <c:v>0.011612311641996984</c:v>
                </c:pt>
                <c:pt idx="6">
                  <c:v>0.023854424227170108</c:v>
                </c:pt>
                <c:pt idx="7">
                  <c:v>0.032431104157323996</c:v>
                </c:pt>
                <c:pt idx="8">
                  <c:v>0.06960364171776422</c:v>
                </c:pt>
                <c:pt idx="9">
                  <c:v>0.013049383388737455</c:v>
                </c:pt>
                <c:pt idx="10">
                  <c:v>0.000515924507616378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3377181962446</c:v>
                </c:pt>
                <c:pt idx="1">
                  <c:v>0.021306896673764054</c:v>
                </c:pt>
                <c:pt idx="2">
                  <c:v>0.025548831278795543</c:v>
                </c:pt>
                <c:pt idx="3">
                  <c:v>0.05776797036686218</c:v>
                </c:pt>
                <c:pt idx="4">
                  <c:v>0.07327807666778323</c:v>
                </c:pt>
                <c:pt idx="5">
                  <c:v>0.11719239595450313</c:v>
                </c:pt>
                <c:pt idx="6">
                  <c:v>0.1336363149639797</c:v>
                </c:pt>
                <c:pt idx="7">
                  <c:v>0.18577181469164547</c:v>
                </c:pt>
                <c:pt idx="8">
                  <c:v>0.2060222230819663</c:v>
                </c:pt>
                <c:pt idx="9">
                  <c:v>0.13022682695731488</c:v>
                </c:pt>
                <c:pt idx="10">
                  <c:v>0.02531487754376105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86739615292647</c:v>
                </c:pt>
                <c:pt idx="1">
                  <c:v>0.022440013185811042</c:v>
                </c:pt>
                <c:pt idx="2">
                  <c:v>0.025308299426034547</c:v>
                </c:pt>
                <c:pt idx="3">
                  <c:v>0.05376235000431038</c:v>
                </c:pt>
                <c:pt idx="4">
                  <c:v>0.06047976889902426</c:v>
                </c:pt>
                <c:pt idx="5">
                  <c:v>0.11906086687087766</c:v>
                </c:pt>
                <c:pt idx="6">
                  <c:v>0.13389055283916435</c:v>
                </c:pt>
                <c:pt idx="7">
                  <c:v>0.18936383046379757</c:v>
                </c:pt>
                <c:pt idx="8">
                  <c:v>0.2079537278099954</c:v>
                </c:pt>
                <c:pt idx="9">
                  <c:v>0.1370361635363881</c:v>
                </c:pt>
                <c:pt idx="10">
                  <c:v>0.02671768734930402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6156924401888873</c:v>
                </c:pt>
                <c:pt idx="1">
                  <c:v>0.0019750903821412666</c:v>
                </c:pt>
                <c:pt idx="2">
                  <c:v>0.004460004651976185</c:v>
                </c:pt>
                <c:pt idx="3">
                  <c:v>0.021676188324313603</c:v>
                </c:pt>
                <c:pt idx="4">
                  <c:v>0.016873405852113957</c:v>
                </c:pt>
                <c:pt idx="5">
                  <c:v>0.01632259427519659</c:v>
                </c:pt>
                <c:pt idx="6">
                  <c:v>0.009162292884169847</c:v>
                </c:pt>
                <c:pt idx="7">
                  <c:v>0.026675557469277255</c:v>
                </c:pt>
                <c:pt idx="8">
                  <c:v>0.02190555269301163</c:v>
                </c:pt>
                <c:pt idx="9">
                  <c:v>0.002519760364659387</c:v>
                </c:pt>
                <c:pt idx="10">
                  <c:v>0.001177566916811752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1687721138806102</c:v>
                </c:pt>
                <c:pt idx="4">
                  <c:v>0.00413778096601834</c:v>
                </c:pt>
                <c:pt idx="5">
                  <c:v>0.005769305124771625</c:v>
                </c:pt>
                <c:pt idx="6">
                  <c:v>0.0028979991016709087</c:v>
                </c:pt>
                <c:pt idx="7">
                  <c:v>0.006704058442431768</c:v>
                </c:pt>
                <c:pt idx="8">
                  <c:v>0.0020856655822744283</c:v>
                </c:pt>
                <c:pt idx="9">
                  <c:v>0.0018707747056201961</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32645204450961205</c:v>
                </c:pt>
                <c:pt idx="2">
                  <c:v>0.0008922086978174165</c:v>
                </c:pt>
                <c:pt idx="3">
                  <c:v>0.008890002281996521</c:v>
                </c:pt>
                <c:pt idx="4">
                  <c:v>0.0034852812814458577</c:v>
                </c:pt>
                <c:pt idx="5">
                  <c:v>0.011752993633068051</c:v>
                </c:pt>
                <c:pt idx="6">
                  <c:v>0.014915159471699387</c:v>
                </c:pt>
                <c:pt idx="7">
                  <c:v>0.037470503452530085</c:v>
                </c:pt>
                <c:pt idx="8">
                  <c:v>0.037147680845176674</c:v>
                </c:pt>
                <c:pt idx="9">
                  <c:v>0.023311076778251286</c:v>
                </c:pt>
                <c:pt idx="10">
                  <c:v>0.00700292949415178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21135159571873</c:v>
                </c:pt>
                <c:pt idx="1">
                  <c:v>0.0036899242420086594</c:v>
                </c:pt>
                <c:pt idx="2">
                  <c:v>0.008061650265363254</c:v>
                </c:pt>
                <c:pt idx="3">
                  <c:v>0.012221163332728317</c:v>
                </c:pt>
                <c:pt idx="4">
                  <c:v>0.009172075708646577</c:v>
                </c:pt>
                <c:pt idx="5">
                  <c:v>0.02727538387217576</c:v>
                </c:pt>
                <c:pt idx="6">
                  <c:v>0.036457590892748255</c:v>
                </c:pt>
                <c:pt idx="7">
                  <c:v>0.041942519658601025</c:v>
                </c:pt>
                <c:pt idx="8">
                  <c:v>0.04373578704538852</c:v>
                </c:pt>
                <c:pt idx="9">
                  <c:v>0.051824970469332564</c:v>
                </c:pt>
                <c:pt idx="10">
                  <c:v>0.0159731541169711</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891005521236</c:v>
                </c:pt>
                <c:pt idx="1">
                  <c:v>0.01625103510363808</c:v>
                </c:pt>
                <c:pt idx="2">
                  <c:v>0.02126693937263152</c:v>
                </c:pt>
                <c:pt idx="3">
                  <c:v>0.03945072467447183</c:v>
                </c:pt>
                <c:pt idx="4">
                  <c:v>0.051534564696052484</c:v>
                </c:pt>
                <c:pt idx="5">
                  <c:v>0.10248226676541283</c:v>
                </c:pt>
                <c:pt idx="6">
                  <c:v>0.13074905745117735</c:v>
                </c:pt>
                <c:pt idx="7">
                  <c:v>0.17785855434784298</c:v>
                </c:pt>
                <c:pt idx="8">
                  <c:v>0.2563887372525113</c:v>
                </c:pt>
                <c:pt idx="9">
                  <c:v>0.10346326897165924</c:v>
                </c:pt>
                <c:pt idx="10">
                  <c:v>0.0817657508124787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146139338108645</c:v>
                </c:pt>
                <c:pt idx="1">
                  <c:v>0.006041321442146539</c:v>
                </c:pt>
                <c:pt idx="2">
                  <c:v>0.002479713459043754</c:v>
                </c:pt>
                <c:pt idx="3">
                  <c:v>0.00542251771131146</c:v>
                </c:pt>
                <c:pt idx="4">
                  <c:v>0.014647987527382434</c:v>
                </c:pt>
                <c:pt idx="5">
                  <c:v>0.03867168271285739</c:v>
                </c:pt>
                <c:pt idx="6">
                  <c:v>0.034957308697417255</c:v>
                </c:pt>
                <c:pt idx="7">
                  <c:v>0.045440172907016844</c:v>
                </c:pt>
                <c:pt idx="8">
                  <c:v>0.06470167447026794</c:v>
                </c:pt>
                <c:pt idx="9">
                  <c:v>0.041080999057069814</c:v>
                </c:pt>
                <c:pt idx="10">
                  <c:v>0.001675934445244154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0023487524056565</c:v>
                </c:pt>
                <c:pt idx="1">
                  <c:v>0.007041809033064993</c:v>
                </c:pt>
                <c:pt idx="2">
                  <c:v>0.006404832278025884</c:v>
                </c:pt>
                <c:pt idx="3">
                  <c:v>0.004512267168976211</c:v>
                </c:pt>
                <c:pt idx="4">
                  <c:v>0.01148249979508143</c:v>
                </c:pt>
                <c:pt idx="5">
                  <c:v>0.015093720200513583</c:v>
                </c:pt>
                <c:pt idx="6">
                  <c:v>0.03091040212775041</c:v>
                </c:pt>
                <c:pt idx="7">
                  <c:v>0.035891508145291226</c:v>
                </c:pt>
                <c:pt idx="8">
                  <c:v>0.03706833568568987</c:v>
                </c:pt>
                <c:pt idx="9">
                  <c:v>0.017844158055780306</c:v>
                </c:pt>
                <c:pt idx="10">
                  <c:v>0.000888102376125233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3377181962446</c:v>
                </c:pt>
                <c:pt idx="1">
                  <c:v>0.021306896673764054</c:v>
                </c:pt>
                <c:pt idx="2">
                  <c:v>0.025548831278795543</c:v>
                </c:pt>
                <c:pt idx="3">
                  <c:v>0.05776797036686218</c:v>
                </c:pt>
                <c:pt idx="4">
                  <c:v>0.07327807666778323</c:v>
                </c:pt>
                <c:pt idx="5">
                  <c:v>0.11719239595450313</c:v>
                </c:pt>
                <c:pt idx="6">
                  <c:v>0.1336363149639797</c:v>
                </c:pt>
                <c:pt idx="7">
                  <c:v>0.18577181469164547</c:v>
                </c:pt>
                <c:pt idx="8">
                  <c:v>0.2060222230819663</c:v>
                </c:pt>
                <c:pt idx="9">
                  <c:v>0.13022682695731488</c:v>
                </c:pt>
                <c:pt idx="10">
                  <c:v>0.02531487754376105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86739615292647</c:v>
                </c:pt>
                <c:pt idx="1">
                  <c:v>0.022440013185811042</c:v>
                </c:pt>
                <c:pt idx="2">
                  <c:v>0.025308299426034547</c:v>
                </c:pt>
                <c:pt idx="3">
                  <c:v>0.05376235000431038</c:v>
                </c:pt>
                <c:pt idx="4">
                  <c:v>0.06047976889902426</c:v>
                </c:pt>
                <c:pt idx="5">
                  <c:v>0.11906086687087766</c:v>
                </c:pt>
                <c:pt idx="6">
                  <c:v>0.13389055283916435</c:v>
                </c:pt>
                <c:pt idx="7">
                  <c:v>0.18936383046379757</c:v>
                </c:pt>
                <c:pt idx="8">
                  <c:v>0.2079537278099954</c:v>
                </c:pt>
                <c:pt idx="9">
                  <c:v>0.1370361635363881</c:v>
                </c:pt>
                <c:pt idx="10">
                  <c:v>0.02671768734930402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828116131706631</c:v>
                </c:pt>
                <c:pt idx="2">
                  <c:v>0.0030098900738080516</c:v>
                </c:pt>
                <c:pt idx="3">
                  <c:v>0.0010402111849842667</c:v>
                </c:pt>
                <c:pt idx="4">
                  <c:v>0.004818518734354006</c:v>
                </c:pt>
                <c:pt idx="5">
                  <c:v>0.009944492177066288</c:v>
                </c:pt>
                <c:pt idx="6">
                  <c:v>0.007487798765379195</c:v>
                </c:pt>
                <c:pt idx="7">
                  <c:v>0.0019435688310811372</c:v>
                </c:pt>
                <c:pt idx="8">
                  <c:v>0.003394697070460796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89015268346008</c:v>
                </c:pt>
                <c:pt idx="1">
                  <c:v>0.003958746050512134</c:v>
                </c:pt>
                <c:pt idx="2">
                  <c:v>0.007546814908141316</c:v>
                </c:pt>
                <c:pt idx="3">
                  <c:v>0.003949905477634542</c:v>
                </c:pt>
                <c:pt idx="4">
                  <c:v>0.009580758896778134</c:v>
                </c:pt>
                <c:pt idx="5">
                  <c:v>0.011612311641996984</c:v>
                </c:pt>
                <c:pt idx="6">
                  <c:v>0.023854424227170108</c:v>
                </c:pt>
                <c:pt idx="7">
                  <c:v>0.032431104157323996</c:v>
                </c:pt>
                <c:pt idx="8">
                  <c:v>0.06960364171776422</c:v>
                </c:pt>
                <c:pt idx="9">
                  <c:v>0.013049383388737455</c:v>
                </c:pt>
                <c:pt idx="10">
                  <c:v>0.000515924507616378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0023487524056565</c:v>
                </c:pt>
                <c:pt idx="1">
                  <c:v>0.007041809033064993</c:v>
                </c:pt>
                <c:pt idx="2">
                  <c:v>0.006404832278025884</c:v>
                </c:pt>
                <c:pt idx="3">
                  <c:v>0.004512267168976211</c:v>
                </c:pt>
                <c:pt idx="4">
                  <c:v>0.01148249979508143</c:v>
                </c:pt>
                <c:pt idx="5">
                  <c:v>0.015093720200513583</c:v>
                </c:pt>
                <c:pt idx="6">
                  <c:v>0.03091040212775041</c:v>
                </c:pt>
                <c:pt idx="7">
                  <c:v>0.035891508145291226</c:v>
                </c:pt>
                <c:pt idx="8">
                  <c:v>0.03706833568568987</c:v>
                </c:pt>
                <c:pt idx="9">
                  <c:v>0.017844158055780306</c:v>
                </c:pt>
                <c:pt idx="10">
                  <c:v>0.000888102376125233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0023487524056565</c:v>
                </c:pt>
                <c:pt idx="1">
                  <c:v>0.007041809033064993</c:v>
                </c:pt>
                <c:pt idx="2">
                  <c:v>0.006404832278025884</c:v>
                </c:pt>
                <c:pt idx="3">
                  <c:v>0.004512267168976211</c:v>
                </c:pt>
                <c:pt idx="4">
                  <c:v>0.01148249979508143</c:v>
                </c:pt>
                <c:pt idx="5">
                  <c:v>0.015093720200513583</c:v>
                </c:pt>
                <c:pt idx="6">
                  <c:v>0.03091040212775041</c:v>
                </c:pt>
                <c:pt idx="7">
                  <c:v>0.035891508145291226</c:v>
                </c:pt>
                <c:pt idx="8">
                  <c:v>0.03706833568568987</c:v>
                </c:pt>
                <c:pt idx="9">
                  <c:v>0.017844158055780306</c:v>
                </c:pt>
                <c:pt idx="10">
                  <c:v>0.000888102376125233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0023487524056565</c:v>
                </c:pt>
                <c:pt idx="1">
                  <c:v>0.007041809033064993</c:v>
                </c:pt>
                <c:pt idx="2">
                  <c:v>0.006404832278025884</c:v>
                </c:pt>
                <c:pt idx="3">
                  <c:v>0.004512267168976211</c:v>
                </c:pt>
                <c:pt idx="4">
                  <c:v>0.01148249979508143</c:v>
                </c:pt>
                <c:pt idx="5">
                  <c:v>0.015093720200513583</c:v>
                </c:pt>
                <c:pt idx="6">
                  <c:v>0.03091040212775041</c:v>
                </c:pt>
                <c:pt idx="7">
                  <c:v>0.035891508145291226</c:v>
                </c:pt>
                <c:pt idx="8">
                  <c:v>0.03706833568568987</c:v>
                </c:pt>
                <c:pt idx="9">
                  <c:v>0.017844158055780306</c:v>
                </c:pt>
                <c:pt idx="10">
                  <c:v>0.000888102376125233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3377181962446</c:v>
                </c:pt>
                <c:pt idx="1">
                  <c:v>0.021306896673764054</c:v>
                </c:pt>
                <c:pt idx="2">
                  <c:v>0.025548831278795543</c:v>
                </c:pt>
                <c:pt idx="3">
                  <c:v>0.05776797036686218</c:v>
                </c:pt>
                <c:pt idx="4">
                  <c:v>0.07327807666778323</c:v>
                </c:pt>
                <c:pt idx="5">
                  <c:v>0.11719239595450313</c:v>
                </c:pt>
                <c:pt idx="6">
                  <c:v>0.1336363149639797</c:v>
                </c:pt>
                <c:pt idx="7">
                  <c:v>0.18577181469164547</c:v>
                </c:pt>
                <c:pt idx="8">
                  <c:v>0.2060222230819663</c:v>
                </c:pt>
                <c:pt idx="9">
                  <c:v>0.13022682695731488</c:v>
                </c:pt>
                <c:pt idx="10">
                  <c:v>0.02531487754376105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5229844271682886</c:v>
                </c:pt>
                <c:pt idx="1">
                  <c:v>0.001259059205196047</c:v>
                </c:pt>
                <c:pt idx="2">
                  <c:v>0.032731555461713205</c:v>
                </c:pt>
                <c:pt idx="3">
                  <c:v>0.1415219798443428</c:v>
                </c:pt>
                <c:pt idx="4">
                  <c:v>0.32430501393489064</c:v>
                </c:pt>
                <c:pt idx="5">
                  <c:v>0.07999615168178827</c:v>
                </c:pt>
                <c:pt idx="6">
                  <c:v>0.09644564249232464</c:v>
                </c:pt>
                <c:pt idx="7">
                  <c:v>0.11128880451125543</c:v>
                </c:pt>
                <c:pt idx="8">
                  <c:v>0.1775377473943334</c:v>
                </c:pt>
                <c:pt idx="9">
                  <c:v>0.0092913757652238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3377181962446</c:v>
                </c:pt>
                <c:pt idx="1">
                  <c:v>0.021306896673764054</c:v>
                </c:pt>
                <c:pt idx="2">
                  <c:v>0.025548831278795543</c:v>
                </c:pt>
                <c:pt idx="3">
                  <c:v>0.05776797036686218</c:v>
                </c:pt>
                <c:pt idx="4">
                  <c:v>0.07327807666778323</c:v>
                </c:pt>
                <c:pt idx="5">
                  <c:v>0.11719239595450313</c:v>
                </c:pt>
                <c:pt idx="6">
                  <c:v>0.1336363149639797</c:v>
                </c:pt>
                <c:pt idx="7">
                  <c:v>0.18577181469164547</c:v>
                </c:pt>
                <c:pt idx="8">
                  <c:v>0.2060222230819663</c:v>
                </c:pt>
                <c:pt idx="9">
                  <c:v>0.13022682695731488</c:v>
                </c:pt>
                <c:pt idx="10">
                  <c:v>0.02531487754376105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89015268346008</c:v>
                </c:pt>
                <c:pt idx="1">
                  <c:v>0.003958746050512134</c:v>
                </c:pt>
                <c:pt idx="2">
                  <c:v>0.007546814908141316</c:v>
                </c:pt>
                <c:pt idx="3">
                  <c:v>0.003949905477634542</c:v>
                </c:pt>
                <c:pt idx="4">
                  <c:v>0.009580758896778134</c:v>
                </c:pt>
                <c:pt idx="5">
                  <c:v>0.011612311641996984</c:v>
                </c:pt>
                <c:pt idx="6">
                  <c:v>0.023854424227170108</c:v>
                </c:pt>
                <c:pt idx="7">
                  <c:v>0.032431104157323996</c:v>
                </c:pt>
                <c:pt idx="8">
                  <c:v>0.06960364171776422</c:v>
                </c:pt>
                <c:pt idx="9">
                  <c:v>0.013049383388737455</c:v>
                </c:pt>
                <c:pt idx="10">
                  <c:v>0.000515924507616378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5229844271682886</c:v>
                </c:pt>
                <c:pt idx="1">
                  <c:v>0.001259059205196047</c:v>
                </c:pt>
                <c:pt idx="2">
                  <c:v>0.032731555461713205</c:v>
                </c:pt>
                <c:pt idx="3">
                  <c:v>0.1415219798443428</c:v>
                </c:pt>
                <c:pt idx="4">
                  <c:v>0.32430501393489064</c:v>
                </c:pt>
                <c:pt idx="5">
                  <c:v>0.07999615168178827</c:v>
                </c:pt>
                <c:pt idx="6">
                  <c:v>0.09644564249232464</c:v>
                </c:pt>
                <c:pt idx="7">
                  <c:v>0.11128880451125543</c:v>
                </c:pt>
                <c:pt idx="8">
                  <c:v>0.1775377473943334</c:v>
                </c:pt>
                <c:pt idx="9">
                  <c:v>0.0092913757652238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54662527329399</c:v>
                </c:pt>
                <c:pt idx="1">
                  <c:v>0.009922473300098737</c:v>
                </c:pt>
                <c:pt idx="2">
                  <c:v>0.016234090341292837</c:v>
                </c:pt>
                <c:pt idx="3">
                  <c:v>0.07892262515697393</c:v>
                </c:pt>
                <c:pt idx="4">
                  <c:v>0.06113448454300473</c:v>
                </c:pt>
                <c:pt idx="5">
                  <c:v>0.11702285157285876</c:v>
                </c:pt>
                <c:pt idx="6">
                  <c:v>0.1260705027379858</c:v>
                </c:pt>
                <c:pt idx="7">
                  <c:v>0.17930534937108045</c:v>
                </c:pt>
                <c:pt idx="8">
                  <c:v>0.22856998037928503</c:v>
                </c:pt>
                <c:pt idx="9">
                  <c:v>0.10314664132259938</c:v>
                </c:pt>
                <c:pt idx="10">
                  <c:v>0.0642047485418804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527667394670337</c:v>
                </c:pt>
                <c:pt idx="1">
                  <c:v>0.010598397611318512</c:v>
                </c:pt>
                <c:pt idx="2">
                  <c:v>0.01716149788998878</c:v>
                </c:pt>
                <c:pt idx="3">
                  <c:v>0.06657601141707845</c:v>
                </c:pt>
                <c:pt idx="4">
                  <c:v>0.049079788619134326</c:v>
                </c:pt>
                <c:pt idx="5">
                  <c:v>0.1185220621878273</c:v>
                </c:pt>
                <c:pt idx="6">
                  <c:v>0.13215882489295885</c:v>
                </c:pt>
                <c:pt idx="7">
                  <c:v>0.17983556640418588</c:v>
                </c:pt>
                <c:pt idx="8">
                  <c:v>0.23095884548151405</c:v>
                </c:pt>
                <c:pt idx="9">
                  <c:v>0.10991926140650649</c:v>
                </c:pt>
                <c:pt idx="10">
                  <c:v>0.0686620766948170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900747823278864</c:v>
                </c:pt>
                <c:pt idx="1">
                  <c:v>0.0022975844533108533</c:v>
                </c:pt>
                <c:pt idx="2">
                  <c:v>0.0063721832249015575</c:v>
                </c:pt>
                <c:pt idx="3">
                  <c:v>0.027246964413888044</c:v>
                </c:pt>
                <c:pt idx="4">
                  <c:v>0.008844777006694886</c:v>
                </c:pt>
                <c:pt idx="5">
                  <c:v>0.016166851103922648</c:v>
                </c:pt>
                <c:pt idx="6">
                  <c:v>0.006119915504828314</c:v>
                </c:pt>
                <c:pt idx="7">
                  <c:v>0.029582010116621038</c:v>
                </c:pt>
                <c:pt idx="8">
                  <c:v>0.020056514307340463</c:v>
                </c:pt>
                <c:pt idx="9">
                  <c:v>0.0118727688582591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5225233796730798</c:v>
                </c:pt>
                <c:pt idx="2">
                  <c:v>0.00209474269316095</c:v>
                </c:pt>
                <c:pt idx="3">
                  <c:v>0.010539715045887483</c:v>
                </c:pt>
                <c:pt idx="4">
                  <c:v>0.006116471671888587</c:v>
                </c:pt>
                <c:pt idx="5">
                  <c:v>0.004638634252664015</c:v>
                </c:pt>
                <c:pt idx="6">
                  <c:v>0.0013922616492914946</c:v>
                </c:pt>
                <c:pt idx="7">
                  <c:v>0.012061574390215329</c:v>
                </c:pt>
                <c:pt idx="8">
                  <c:v>0.0018675453811650908</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07302004204151244</c:v>
                </c:pt>
                <c:pt idx="2">
                  <c:v>0.0009728323654953952</c:v>
                </c:pt>
                <c:pt idx="3">
                  <c:v>0.012506999394777668</c:v>
                </c:pt>
                <c:pt idx="4">
                  <c:v>0.004202003197264937</c:v>
                </c:pt>
                <c:pt idx="5">
                  <c:v>0.015661799088835204</c:v>
                </c:pt>
                <c:pt idx="6">
                  <c:v>0.021301084224185515</c:v>
                </c:pt>
                <c:pt idx="7">
                  <c:v>0.022186657168088413</c:v>
                </c:pt>
                <c:pt idx="8">
                  <c:v>0.05438571246522866</c:v>
                </c:pt>
                <c:pt idx="9">
                  <c:v>0.017908213054728502</c:v>
                </c:pt>
                <c:pt idx="10">
                  <c:v>0.01533886148180537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8805202496150643</c:v>
                </c:pt>
                <c:pt idx="1">
                  <c:v>0.0008365609396561487</c:v>
                </c:pt>
                <c:pt idx="2">
                  <c:v>0.004393435086665038</c:v>
                </c:pt>
                <c:pt idx="3">
                  <c:v>0.01968322194907931</c:v>
                </c:pt>
                <c:pt idx="4">
                  <c:v>0.005138682274131464</c:v>
                </c:pt>
                <c:pt idx="5">
                  <c:v>0.01742587120463803</c:v>
                </c:pt>
                <c:pt idx="6">
                  <c:v>0.026259398357063143</c:v>
                </c:pt>
                <c:pt idx="7">
                  <c:v>0.044698944394414075</c:v>
                </c:pt>
                <c:pt idx="8">
                  <c:v>0.031708573478283146</c:v>
                </c:pt>
                <c:pt idx="9">
                  <c:v>0.028496393961659157</c:v>
                </c:pt>
                <c:pt idx="10">
                  <c:v>0.0340217769314923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902193354762219</c:v>
                </c:pt>
                <c:pt idx="1">
                  <c:v>0.0020092817176591967</c:v>
                </c:pt>
                <c:pt idx="2">
                  <c:v>0.002075968585710743</c:v>
                </c:pt>
                <c:pt idx="3">
                  <c:v>0.003602428403839386</c:v>
                </c:pt>
                <c:pt idx="4">
                  <c:v>0.01855933054781863</c:v>
                </c:pt>
                <c:pt idx="5">
                  <c:v>0.04489684129746921</c:v>
                </c:pt>
                <c:pt idx="6">
                  <c:v>0.03705695387087179</c:v>
                </c:pt>
                <c:pt idx="7">
                  <c:v>0.04851663496801073</c:v>
                </c:pt>
                <c:pt idx="8">
                  <c:v>0.05806790908436186</c:v>
                </c:pt>
                <c:pt idx="9">
                  <c:v>0.036952581382464156</c:v>
                </c:pt>
                <c:pt idx="10">
                  <c:v>0.0192528489294969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97801642155172</c:v>
                </c:pt>
                <c:pt idx="1">
                  <c:v>0.015499323616429533</c:v>
                </c:pt>
                <c:pt idx="2">
                  <c:v>0.020328229017232035</c:v>
                </c:pt>
                <c:pt idx="3">
                  <c:v>0.04426378969025742</c:v>
                </c:pt>
                <c:pt idx="4">
                  <c:v>0.06509450789254996</c:v>
                </c:pt>
                <c:pt idx="5">
                  <c:v>0.10204826864942468</c:v>
                </c:pt>
                <c:pt idx="6">
                  <c:v>0.12638325694294628</c:v>
                </c:pt>
                <c:pt idx="7">
                  <c:v>0.1760557863873334</c:v>
                </c:pt>
                <c:pt idx="8">
                  <c:v>0.25472703021903487</c:v>
                </c:pt>
                <c:pt idx="9">
                  <c:v>0.09896421392959569</c:v>
                </c:pt>
                <c:pt idx="10">
                  <c:v>0.0778377920130409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82005865052735</c:v>
                </c:pt>
                <c:pt idx="1">
                  <c:v>0.0015657351674276173</c:v>
                </c:pt>
                <c:pt idx="2">
                  <c:v>0.002799516147037759</c:v>
                </c:pt>
                <c:pt idx="3">
                  <c:v>0.0021314125567307774</c:v>
                </c:pt>
                <c:pt idx="4">
                  <c:v>0.008964208437320782</c:v>
                </c:pt>
                <c:pt idx="5">
                  <c:v>0.015764691424802583</c:v>
                </c:pt>
                <c:pt idx="6">
                  <c:v>0.03479869694614687</c:v>
                </c:pt>
                <c:pt idx="7">
                  <c:v>0.027405787727553806</c:v>
                </c:pt>
                <c:pt idx="8">
                  <c:v>0.06318641884615243</c:v>
                </c:pt>
                <c:pt idx="9">
                  <c:v>0.0136442139073102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54662527329399</c:v>
                </c:pt>
                <c:pt idx="1">
                  <c:v>0.009922473300098737</c:v>
                </c:pt>
                <c:pt idx="2">
                  <c:v>0.016234090341292837</c:v>
                </c:pt>
                <c:pt idx="3">
                  <c:v>0.07892262515697393</c:v>
                </c:pt>
                <c:pt idx="4">
                  <c:v>0.06113448454300473</c:v>
                </c:pt>
                <c:pt idx="5">
                  <c:v>0.11702285157285876</c:v>
                </c:pt>
                <c:pt idx="6">
                  <c:v>0.1260705027379858</c:v>
                </c:pt>
                <c:pt idx="7">
                  <c:v>0.17930534937108045</c:v>
                </c:pt>
                <c:pt idx="8">
                  <c:v>0.22856998037928503</c:v>
                </c:pt>
                <c:pt idx="9">
                  <c:v>0.10314664132259938</c:v>
                </c:pt>
                <c:pt idx="10">
                  <c:v>0.0642047485418804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527667394670337</c:v>
                </c:pt>
                <c:pt idx="1">
                  <c:v>0.010598397611318512</c:v>
                </c:pt>
                <c:pt idx="2">
                  <c:v>0.01716149788998878</c:v>
                </c:pt>
                <c:pt idx="3">
                  <c:v>0.06657601141707845</c:v>
                </c:pt>
                <c:pt idx="4">
                  <c:v>0.049079788619134326</c:v>
                </c:pt>
                <c:pt idx="5">
                  <c:v>0.1185220621878273</c:v>
                </c:pt>
                <c:pt idx="6">
                  <c:v>0.13215882489295885</c:v>
                </c:pt>
                <c:pt idx="7">
                  <c:v>0.17983556640418588</c:v>
                </c:pt>
                <c:pt idx="8">
                  <c:v>0.23095884548151405</c:v>
                </c:pt>
                <c:pt idx="9">
                  <c:v>0.10991926140650649</c:v>
                </c:pt>
                <c:pt idx="10">
                  <c:v>0.0686620766948170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7986231194130583</c:v>
                </c:pt>
                <c:pt idx="1">
                  <c:v>0.003159034912849572</c:v>
                </c:pt>
                <c:pt idx="2">
                  <c:v>0.0005475624801782846</c:v>
                </c:pt>
                <c:pt idx="3">
                  <c:v>0.0014049846987632627</c:v>
                </c:pt>
                <c:pt idx="4">
                  <c:v>0.003370787155903627</c:v>
                </c:pt>
                <c:pt idx="5">
                  <c:v>0.008606008068159633</c:v>
                </c:pt>
                <c:pt idx="6">
                  <c:v>0.006622775989863206</c:v>
                </c:pt>
                <c:pt idx="7">
                  <c:v>0.007445532029497834</c:v>
                </c:pt>
                <c:pt idx="8">
                  <c:v>0.003553717300147474</c:v>
                </c:pt>
                <c:pt idx="9">
                  <c:v>0.001045090242085297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82005865052735</c:v>
                </c:pt>
                <c:pt idx="1">
                  <c:v>0.0015657351674276173</c:v>
                </c:pt>
                <c:pt idx="2">
                  <c:v>0.002799516147037759</c:v>
                </c:pt>
                <c:pt idx="3">
                  <c:v>0.0021314125567307774</c:v>
                </c:pt>
                <c:pt idx="4">
                  <c:v>0.008964208437320782</c:v>
                </c:pt>
                <c:pt idx="5">
                  <c:v>0.015764691424802583</c:v>
                </c:pt>
                <c:pt idx="6">
                  <c:v>0.03479869694614687</c:v>
                </c:pt>
                <c:pt idx="7">
                  <c:v>0.027405787727553806</c:v>
                </c:pt>
                <c:pt idx="8">
                  <c:v>0.06318641884615243</c:v>
                </c:pt>
                <c:pt idx="9">
                  <c:v>0.0136442139073102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1951705910143</c:v>
                </c:pt>
                <c:pt idx="1">
                  <c:v>0.0006555930918114396</c:v>
                </c:pt>
                <c:pt idx="2">
                  <c:v>0.0018509581616242188</c:v>
                </c:pt>
                <c:pt idx="3">
                  <c:v>0.14860049297530936</c:v>
                </c:pt>
                <c:pt idx="4">
                  <c:v>0.3549097890286358</c:v>
                </c:pt>
                <c:pt idx="5">
                  <c:v>0.09234732243761362</c:v>
                </c:pt>
                <c:pt idx="6">
                  <c:v>0.024790528801785797</c:v>
                </c:pt>
                <c:pt idx="7">
                  <c:v>0.128120390097668</c:v>
                </c:pt>
                <c:pt idx="8">
                  <c:v>0.22102038676692062</c:v>
                </c:pt>
                <c:pt idx="9">
                  <c:v>0.007438768929166038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82005865052735</c:v>
                </c:pt>
                <c:pt idx="1">
                  <c:v>0.0015657351674276173</c:v>
                </c:pt>
                <c:pt idx="2">
                  <c:v>0.002799516147037759</c:v>
                </c:pt>
                <c:pt idx="3">
                  <c:v>0.0021314125567307774</c:v>
                </c:pt>
                <c:pt idx="4">
                  <c:v>0.008964208437320782</c:v>
                </c:pt>
                <c:pt idx="5">
                  <c:v>0.015764691424802583</c:v>
                </c:pt>
                <c:pt idx="6">
                  <c:v>0.03479869694614687</c:v>
                </c:pt>
                <c:pt idx="7">
                  <c:v>0.027405787727553806</c:v>
                </c:pt>
                <c:pt idx="8">
                  <c:v>0.06318641884615243</c:v>
                </c:pt>
                <c:pt idx="9">
                  <c:v>0.0136442139073102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82005865052735</c:v>
                </c:pt>
                <c:pt idx="1">
                  <c:v>0.0015657351674276173</c:v>
                </c:pt>
                <c:pt idx="2">
                  <c:v>0.002799516147037759</c:v>
                </c:pt>
                <c:pt idx="3">
                  <c:v>0.0021314125567307774</c:v>
                </c:pt>
                <c:pt idx="4">
                  <c:v>0.008964208437320782</c:v>
                </c:pt>
                <c:pt idx="5">
                  <c:v>0.015764691424802583</c:v>
                </c:pt>
                <c:pt idx="6">
                  <c:v>0.03479869694614687</c:v>
                </c:pt>
                <c:pt idx="7">
                  <c:v>0.027405787727553806</c:v>
                </c:pt>
                <c:pt idx="8">
                  <c:v>0.06318641884615243</c:v>
                </c:pt>
                <c:pt idx="9">
                  <c:v>0.0136442139073102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54662527329399</c:v>
                </c:pt>
                <c:pt idx="1">
                  <c:v>0.009922473300098737</c:v>
                </c:pt>
                <c:pt idx="2">
                  <c:v>0.016234090341292837</c:v>
                </c:pt>
                <c:pt idx="3">
                  <c:v>0.07892262515697393</c:v>
                </c:pt>
                <c:pt idx="4">
                  <c:v>0.06113448454300473</c:v>
                </c:pt>
                <c:pt idx="5">
                  <c:v>0.11702285157285876</c:v>
                </c:pt>
                <c:pt idx="6">
                  <c:v>0.1260705027379858</c:v>
                </c:pt>
                <c:pt idx="7">
                  <c:v>0.17930534937108045</c:v>
                </c:pt>
                <c:pt idx="8">
                  <c:v>0.22856998037928503</c:v>
                </c:pt>
                <c:pt idx="9">
                  <c:v>0.10314664132259938</c:v>
                </c:pt>
                <c:pt idx="10">
                  <c:v>0.0642047485418804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0096130298614627</c:v>
                </c:pt>
                <c:pt idx="3">
                  <c:v>0.2686462022630614</c:v>
                </c:pt>
                <c:pt idx="4">
                  <c:v>0.24445258049451574</c:v>
                </c:pt>
                <c:pt idx="5">
                  <c:v>0.09709962314476883</c:v>
                </c:pt>
                <c:pt idx="6">
                  <c:v>0.029819821017562358</c:v>
                </c:pt>
                <c:pt idx="7">
                  <c:v>0.16448722706132768</c:v>
                </c:pt>
                <c:pt idx="8">
                  <c:v>0.192282414570228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54662527329399</c:v>
                </c:pt>
                <c:pt idx="1">
                  <c:v>0.009922473300098737</c:v>
                </c:pt>
                <c:pt idx="2">
                  <c:v>0.016234090341292837</c:v>
                </c:pt>
                <c:pt idx="3">
                  <c:v>0.07892262515697393</c:v>
                </c:pt>
                <c:pt idx="4">
                  <c:v>0.06113448454300473</c:v>
                </c:pt>
                <c:pt idx="5">
                  <c:v>0.11702285157285876</c:v>
                </c:pt>
                <c:pt idx="6">
                  <c:v>0.1260705027379858</c:v>
                </c:pt>
                <c:pt idx="7">
                  <c:v>0.17930534937108045</c:v>
                </c:pt>
                <c:pt idx="8">
                  <c:v>0.22856998037928503</c:v>
                </c:pt>
                <c:pt idx="9">
                  <c:v>0.10314664132259938</c:v>
                </c:pt>
                <c:pt idx="10">
                  <c:v>0.0642047485418804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0096130298614627</c:v>
                </c:pt>
                <c:pt idx="3">
                  <c:v>0.2686462022630614</c:v>
                </c:pt>
                <c:pt idx="4">
                  <c:v>0.24445258049451574</c:v>
                </c:pt>
                <c:pt idx="5">
                  <c:v>0.09709962314476883</c:v>
                </c:pt>
                <c:pt idx="6">
                  <c:v>0.029819821017562358</c:v>
                </c:pt>
                <c:pt idx="7">
                  <c:v>0.16448722706132768</c:v>
                </c:pt>
                <c:pt idx="8">
                  <c:v>0.192282414570228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97801642155172</c:v>
                </c:pt>
                <c:pt idx="1">
                  <c:v>0.015499323616429533</c:v>
                </c:pt>
                <c:pt idx="2">
                  <c:v>0.020328229017232035</c:v>
                </c:pt>
                <c:pt idx="3">
                  <c:v>0.04426378969025742</c:v>
                </c:pt>
                <c:pt idx="4">
                  <c:v>0.06509450789254996</c:v>
                </c:pt>
                <c:pt idx="5">
                  <c:v>0.10204826864942468</c:v>
                </c:pt>
                <c:pt idx="6">
                  <c:v>0.12638325694294628</c:v>
                </c:pt>
                <c:pt idx="7">
                  <c:v>0.1760557863873334</c:v>
                </c:pt>
                <c:pt idx="8">
                  <c:v>0.25472703021903487</c:v>
                </c:pt>
                <c:pt idx="9">
                  <c:v>0.09896421392959569</c:v>
                </c:pt>
                <c:pt idx="10">
                  <c:v>0.0778377920130409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891005521236</c:v>
                </c:pt>
                <c:pt idx="1">
                  <c:v>0.01625103510363808</c:v>
                </c:pt>
                <c:pt idx="2">
                  <c:v>0.02126693937263152</c:v>
                </c:pt>
                <c:pt idx="3">
                  <c:v>0.03945072467447183</c:v>
                </c:pt>
                <c:pt idx="4">
                  <c:v>0.051534564696052484</c:v>
                </c:pt>
                <c:pt idx="5">
                  <c:v>0.10248226676541283</c:v>
                </c:pt>
                <c:pt idx="6">
                  <c:v>0.13074905745117735</c:v>
                </c:pt>
                <c:pt idx="7">
                  <c:v>0.17785855434784298</c:v>
                </c:pt>
                <c:pt idx="8">
                  <c:v>0.2563887372525113</c:v>
                </c:pt>
                <c:pt idx="9">
                  <c:v>0.10346326897165924</c:v>
                </c:pt>
                <c:pt idx="10">
                  <c:v>0.0817657508124787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4703451690947648</c:v>
                </c:pt>
                <c:pt idx="1">
                  <c:v>0.0008420719998077275</c:v>
                </c:pt>
                <c:pt idx="2">
                  <c:v>0.004756052063423903</c:v>
                </c:pt>
                <c:pt idx="3">
                  <c:v>0.011329416012902082</c:v>
                </c:pt>
                <c:pt idx="4">
                  <c:v>0.015443287898431982</c:v>
                </c:pt>
                <c:pt idx="5">
                  <c:v>0.017246562942353848</c:v>
                </c:pt>
                <c:pt idx="6">
                  <c:v>0.010157388236005904</c:v>
                </c:pt>
                <c:pt idx="7">
                  <c:v>0.03164398480533294</c:v>
                </c:pt>
                <c:pt idx="8">
                  <c:v>0.020454418240051602</c:v>
                </c:pt>
                <c:pt idx="9">
                  <c:v>0.006197762362887271</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2223635409440632</c:v>
                </c:pt>
                <c:pt idx="3">
                  <c:v>0.008263904570286508</c:v>
                </c:pt>
                <c:pt idx="4">
                  <c:v>0.0032244798003789273</c:v>
                </c:pt>
                <c:pt idx="5">
                  <c:v>0.008273784216815861</c:v>
                </c:pt>
                <c:pt idx="6">
                  <c:v>0.022474963516982076</c:v>
                </c:pt>
                <c:pt idx="7">
                  <c:v>0.0199172410384853</c:v>
                </c:pt>
                <c:pt idx="8">
                  <c:v>0.047123298578838714</c:v>
                </c:pt>
                <c:pt idx="9">
                  <c:v>0.02160668785013409</c:v>
                </c:pt>
                <c:pt idx="10">
                  <c:v>0.01705034290444128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12986296548917224</c:v>
                </c:pt>
                <c:pt idx="6">
                  <c:v>0.0017245883591360195</c:v>
                </c:pt>
                <c:pt idx="7">
                  <c:v>0.003445211209570704</c:v>
                </c:pt>
                <c:pt idx="8">
                  <c:v>0.008023956943382739</c:v>
                </c:pt>
                <c:pt idx="9">
                  <c:v>0.00109182404007378</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531667993871335</c:v>
                </c:pt>
                <c:pt idx="1">
                  <c:v>0.0029670087020222157</c:v>
                </c:pt>
                <c:pt idx="2">
                  <c:v>0.003974113438506448</c:v>
                </c:pt>
                <c:pt idx="3">
                  <c:v>0.010807503485784636</c:v>
                </c:pt>
                <c:pt idx="4">
                  <c:v>0.014430319479896448</c:v>
                </c:pt>
                <c:pt idx="5">
                  <c:v>0.01623842318669991</c:v>
                </c:pt>
                <c:pt idx="6">
                  <c:v>0.025211935322992318</c:v>
                </c:pt>
                <c:pt idx="7">
                  <c:v>0.0499084421366733</c:v>
                </c:pt>
                <c:pt idx="8">
                  <c:v>0.04340608658395989</c:v>
                </c:pt>
                <c:pt idx="9">
                  <c:v>0.012144580667783556</c:v>
                </c:pt>
                <c:pt idx="10">
                  <c:v>0.0580163998393253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8">
                  <c:v>0.0025396762041074022</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015774232743893</c:v>
                </c:pt>
                <c:pt idx="1">
                  <c:v>0.004987355985078875</c:v>
                </c:pt>
                <c:pt idx="2">
                  <c:v>0.0029158228932860547</c:v>
                </c:pt>
                <c:pt idx="3">
                  <c:v>0.003524493903219018</c:v>
                </c:pt>
                <c:pt idx="4">
                  <c:v>0.006118537332983777</c:v>
                </c:pt>
                <c:pt idx="5">
                  <c:v>0.04105341795878317</c:v>
                </c:pt>
                <c:pt idx="6">
                  <c:v>0.035717490042248376</c:v>
                </c:pt>
                <c:pt idx="7">
                  <c:v>0.03961365245921343</c:v>
                </c:pt>
                <c:pt idx="8">
                  <c:v>0.07404401225868146</c:v>
                </c:pt>
                <c:pt idx="9">
                  <c:v>0.04960988854836996</c:v>
                </c:pt>
                <c:pt idx="10">
                  <c:v>0.005752853234754759</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89015268346008</c:v>
                </c:pt>
                <c:pt idx="1">
                  <c:v>0.003958746050512134</c:v>
                </c:pt>
                <c:pt idx="2">
                  <c:v>0.007546814908141316</c:v>
                </c:pt>
                <c:pt idx="3">
                  <c:v>0.003949905477634542</c:v>
                </c:pt>
                <c:pt idx="4">
                  <c:v>0.009580758896778134</c:v>
                </c:pt>
                <c:pt idx="5">
                  <c:v>0.011612311641996984</c:v>
                </c:pt>
                <c:pt idx="6">
                  <c:v>0.023854424227170108</c:v>
                </c:pt>
                <c:pt idx="7">
                  <c:v>0.032431104157323996</c:v>
                </c:pt>
                <c:pt idx="8">
                  <c:v>0.06960364171776422</c:v>
                </c:pt>
                <c:pt idx="9">
                  <c:v>0.013049383388737455</c:v>
                </c:pt>
                <c:pt idx="10">
                  <c:v>0.000515924507616378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4703451690947648</c:v>
                </c:pt>
                <c:pt idx="1">
                  <c:v>0.0008420719998077275</c:v>
                </c:pt>
                <c:pt idx="2">
                  <c:v>0.004756052063423903</c:v>
                </c:pt>
                <c:pt idx="3">
                  <c:v>0.011329416012902082</c:v>
                </c:pt>
                <c:pt idx="4">
                  <c:v>0.015443287898431982</c:v>
                </c:pt>
                <c:pt idx="5">
                  <c:v>0.017246562942353848</c:v>
                </c:pt>
                <c:pt idx="6">
                  <c:v>0.010157388236005904</c:v>
                </c:pt>
                <c:pt idx="7">
                  <c:v>0.03164398480533294</c:v>
                </c:pt>
                <c:pt idx="8">
                  <c:v>0.020454418240051602</c:v>
                </c:pt>
                <c:pt idx="9">
                  <c:v>0.006197762362887271</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97801642155172</c:v>
                </c:pt>
                <c:pt idx="1">
                  <c:v>0.015499323616429533</c:v>
                </c:pt>
                <c:pt idx="2">
                  <c:v>0.020328229017232035</c:v>
                </c:pt>
                <c:pt idx="3">
                  <c:v>0.04426378969025742</c:v>
                </c:pt>
                <c:pt idx="4">
                  <c:v>0.06509450789254996</c:v>
                </c:pt>
                <c:pt idx="5">
                  <c:v>0.10204826864942468</c:v>
                </c:pt>
                <c:pt idx="6">
                  <c:v>0.12638325694294628</c:v>
                </c:pt>
                <c:pt idx="7">
                  <c:v>0.1760557863873334</c:v>
                </c:pt>
                <c:pt idx="8">
                  <c:v>0.25472703021903487</c:v>
                </c:pt>
                <c:pt idx="9">
                  <c:v>0.09896421392959569</c:v>
                </c:pt>
                <c:pt idx="10">
                  <c:v>0.0778377920130409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891005521236</c:v>
                </c:pt>
                <c:pt idx="1">
                  <c:v>0.01625103510363808</c:v>
                </c:pt>
                <c:pt idx="2">
                  <c:v>0.02126693937263152</c:v>
                </c:pt>
                <c:pt idx="3">
                  <c:v>0.03945072467447183</c:v>
                </c:pt>
                <c:pt idx="4">
                  <c:v>0.051534564696052484</c:v>
                </c:pt>
                <c:pt idx="5">
                  <c:v>0.10248226676541283</c:v>
                </c:pt>
                <c:pt idx="6">
                  <c:v>0.13074905745117735</c:v>
                </c:pt>
                <c:pt idx="7">
                  <c:v>0.17785855434784298</c:v>
                </c:pt>
                <c:pt idx="8">
                  <c:v>0.2563887372525113</c:v>
                </c:pt>
                <c:pt idx="9">
                  <c:v>0.10346326897165924</c:v>
                </c:pt>
                <c:pt idx="10">
                  <c:v>0.0817657508124787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5333346112460114</c:v>
                </c:pt>
                <c:pt idx="1">
                  <c:v>0.0012722169567764958</c:v>
                </c:pt>
                <c:pt idx="2">
                  <c:v>0.0017252282915541106</c:v>
                </c:pt>
                <c:pt idx="3">
                  <c:v>0.001575501224645043</c:v>
                </c:pt>
                <c:pt idx="4">
                  <c:v>0.0027371812875832185</c:v>
                </c:pt>
                <c:pt idx="5">
                  <c:v>0.008057766818763053</c:v>
                </c:pt>
                <c:pt idx="6">
                  <c:v>0.013332856105778553</c:v>
                </c:pt>
                <c:pt idx="7">
                  <c:v>0.00434412975081401</c:v>
                </c:pt>
                <c:pt idx="8">
                  <c:v>0.001757279873215445</c:v>
                </c:pt>
                <c:pt idx="9">
                  <c:v>0.000854966153746905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89015268346008</c:v>
                </c:pt>
                <c:pt idx="1">
                  <c:v>0.003958746050512134</c:v>
                </c:pt>
                <c:pt idx="2">
                  <c:v>0.007546814908141316</c:v>
                </c:pt>
                <c:pt idx="3">
                  <c:v>0.003949905477634542</c:v>
                </c:pt>
                <c:pt idx="4">
                  <c:v>0.009580758896778134</c:v>
                </c:pt>
                <c:pt idx="5">
                  <c:v>0.011612311641996984</c:v>
                </c:pt>
                <c:pt idx="6">
                  <c:v>0.023854424227170108</c:v>
                </c:pt>
                <c:pt idx="7">
                  <c:v>0.032431104157323996</c:v>
                </c:pt>
                <c:pt idx="8">
                  <c:v>0.06960364171776422</c:v>
                </c:pt>
                <c:pt idx="9">
                  <c:v>0.013049383388737455</c:v>
                </c:pt>
                <c:pt idx="10">
                  <c:v>0.000515924507616378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89015268346008</c:v>
                </c:pt>
                <c:pt idx="1">
                  <c:v>0.003958746050512134</c:v>
                </c:pt>
                <c:pt idx="2">
                  <c:v>0.007546814908141316</c:v>
                </c:pt>
                <c:pt idx="3">
                  <c:v>0.003949905477634542</c:v>
                </c:pt>
                <c:pt idx="4">
                  <c:v>0.009580758896778134</c:v>
                </c:pt>
                <c:pt idx="5">
                  <c:v>0.011612311641996984</c:v>
                </c:pt>
                <c:pt idx="6">
                  <c:v>0.023854424227170108</c:v>
                </c:pt>
                <c:pt idx="7">
                  <c:v>0.032431104157323996</c:v>
                </c:pt>
                <c:pt idx="8">
                  <c:v>0.06960364171776422</c:v>
                </c:pt>
                <c:pt idx="9">
                  <c:v>0.013049383388737455</c:v>
                </c:pt>
                <c:pt idx="10">
                  <c:v>0.000515924507616378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89015268346008</c:v>
                </c:pt>
                <c:pt idx="1">
                  <c:v>0.003958746050512134</c:v>
                </c:pt>
                <c:pt idx="2">
                  <c:v>0.007546814908141316</c:v>
                </c:pt>
                <c:pt idx="3">
                  <c:v>0.003949905477634542</c:v>
                </c:pt>
                <c:pt idx="4">
                  <c:v>0.009580758896778134</c:v>
                </c:pt>
                <c:pt idx="5">
                  <c:v>0.011612311641996984</c:v>
                </c:pt>
                <c:pt idx="6">
                  <c:v>0.023854424227170108</c:v>
                </c:pt>
                <c:pt idx="7">
                  <c:v>0.032431104157323996</c:v>
                </c:pt>
                <c:pt idx="8">
                  <c:v>0.06960364171776422</c:v>
                </c:pt>
                <c:pt idx="9">
                  <c:v>0.013049383388737455</c:v>
                </c:pt>
                <c:pt idx="10">
                  <c:v>0.000515924507616378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97801642155172</c:v>
                </c:pt>
                <c:pt idx="1">
                  <c:v>0.015499323616429533</c:v>
                </c:pt>
                <c:pt idx="2">
                  <c:v>0.020328229017232035</c:v>
                </c:pt>
                <c:pt idx="3">
                  <c:v>0.04426378969025742</c:v>
                </c:pt>
                <c:pt idx="4">
                  <c:v>0.06509450789254996</c:v>
                </c:pt>
                <c:pt idx="5">
                  <c:v>0.10204826864942468</c:v>
                </c:pt>
                <c:pt idx="6">
                  <c:v>0.12638325694294628</c:v>
                </c:pt>
                <c:pt idx="7">
                  <c:v>0.1760557863873334</c:v>
                </c:pt>
                <c:pt idx="8">
                  <c:v>0.25472703021903487</c:v>
                </c:pt>
                <c:pt idx="9">
                  <c:v>0.09896421392959569</c:v>
                </c:pt>
                <c:pt idx="10">
                  <c:v>0.0778377920130409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1951705910143</c:v>
                </c:pt>
                <c:pt idx="1">
                  <c:v>0.0006555930918114396</c:v>
                </c:pt>
                <c:pt idx="2">
                  <c:v>0.0018509581616242188</c:v>
                </c:pt>
                <c:pt idx="3">
                  <c:v>0.14860049297530936</c:v>
                </c:pt>
                <c:pt idx="4">
                  <c:v>0.3549097890286358</c:v>
                </c:pt>
                <c:pt idx="5">
                  <c:v>0.09234732243761362</c:v>
                </c:pt>
                <c:pt idx="6">
                  <c:v>0.024790528801785797</c:v>
                </c:pt>
                <c:pt idx="7">
                  <c:v>0.128120390097668</c:v>
                </c:pt>
                <c:pt idx="8">
                  <c:v>0.22102038676692062</c:v>
                </c:pt>
                <c:pt idx="9">
                  <c:v>0.007438768929166038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97801642155172</c:v>
                </c:pt>
                <c:pt idx="1">
                  <c:v>0.015499323616429533</c:v>
                </c:pt>
                <c:pt idx="2">
                  <c:v>0.020328229017232035</c:v>
                </c:pt>
                <c:pt idx="3">
                  <c:v>0.04426378969025742</c:v>
                </c:pt>
                <c:pt idx="4">
                  <c:v>0.06509450789254996</c:v>
                </c:pt>
                <c:pt idx="5">
                  <c:v>0.10204826864942468</c:v>
                </c:pt>
                <c:pt idx="6">
                  <c:v>0.12638325694294628</c:v>
                </c:pt>
                <c:pt idx="7">
                  <c:v>0.1760557863873334</c:v>
                </c:pt>
                <c:pt idx="8">
                  <c:v>0.25472703021903487</c:v>
                </c:pt>
                <c:pt idx="9">
                  <c:v>0.09896421392959569</c:v>
                </c:pt>
                <c:pt idx="10">
                  <c:v>0.0778377920130409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1951705910143</c:v>
                </c:pt>
                <c:pt idx="1">
                  <c:v>0.0006555930918114396</c:v>
                </c:pt>
                <c:pt idx="2">
                  <c:v>0.0018509581616242188</c:v>
                </c:pt>
                <c:pt idx="3">
                  <c:v>0.14860049297530936</c:v>
                </c:pt>
                <c:pt idx="4">
                  <c:v>0.3549097890286358</c:v>
                </c:pt>
                <c:pt idx="5">
                  <c:v>0.09234732243761362</c:v>
                </c:pt>
                <c:pt idx="6">
                  <c:v>0.024790528801785797</c:v>
                </c:pt>
                <c:pt idx="7">
                  <c:v>0.128120390097668</c:v>
                </c:pt>
                <c:pt idx="8">
                  <c:v>0.22102038676692062</c:v>
                </c:pt>
                <c:pt idx="9">
                  <c:v>0.007438768929166038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3377181962446</c:v>
                </c:pt>
                <c:pt idx="1">
                  <c:v>0.021306896673764054</c:v>
                </c:pt>
                <c:pt idx="2">
                  <c:v>0.025548831278795543</c:v>
                </c:pt>
                <c:pt idx="3">
                  <c:v>0.05776797036686218</c:v>
                </c:pt>
                <c:pt idx="4">
                  <c:v>0.07327807666778323</c:v>
                </c:pt>
                <c:pt idx="5">
                  <c:v>0.11719239595450313</c:v>
                </c:pt>
                <c:pt idx="6">
                  <c:v>0.1336363149639797</c:v>
                </c:pt>
                <c:pt idx="7">
                  <c:v>0.18577181469164547</c:v>
                </c:pt>
                <c:pt idx="8">
                  <c:v>0.2060222230819663</c:v>
                </c:pt>
                <c:pt idx="9">
                  <c:v>0.13022682695731488</c:v>
                </c:pt>
                <c:pt idx="10">
                  <c:v>0.02531487754376105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86739615292647</c:v>
                </c:pt>
                <c:pt idx="1">
                  <c:v>0.022440013185811042</c:v>
                </c:pt>
                <c:pt idx="2">
                  <c:v>0.025308299426034547</c:v>
                </c:pt>
                <c:pt idx="3">
                  <c:v>0.05376235000431038</c:v>
                </c:pt>
                <c:pt idx="4">
                  <c:v>0.06047976889902426</c:v>
                </c:pt>
                <c:pt idx="5">
                  <c:v>0.11906086687087766</c:v>
                </c:pt>
                <c:pt idx="6">
                  <c:v>0.13389055283916435</c:v>
                </c:pt>
                <c:pt idx="7">
                  <c:v>0.18936383046379757</c:v>
                </c:pt>
                <c:pt idx="8">
                  <c:v>0.2079537278099954</c:v>
                </c:pt>
                <c:pt idx="9">
                  <c:v>0.1370361635363881</c:v>
                </c:pt>
                <c:pt idx="10">
                  <c:v>0.02671768734930402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6156924401888873</c:v>
                </c:pt>
                <c:pt idx="1">
                  <c:v>0.0019750903821412666</c:v>
                </c:pt>
                <c:pt idx="2">
                  <c:v>0.004460004651976185</c:v>
                </c:pt>
                <c:pt idx="3">
                  <c:v>0.021676188324313603</c:v>
                </c:pt>
                <c:pt idx="4">
                  <c:v>0.016873405852113957</c:v>
                </c:pt>
                <c:pt idx="5">
                  <c:v>0.01632259427519659</c:v>
                </c:pt>
                <c:pt idx="6">
                  <c:v>0.009162292884169847</c:v>
                </c:pt>
                <c:pt idx="7">
                  <c:v>0.026675557469277255</c:v>
                </c:pt>
                <c:pt idx="8">
                  <c:v>0.02190555269301163</c:v>
                </c:pt>
                <c:pt idx="9">
                  <c:v>0.002519760364659387</c:v>
                </c:pt>
                <c:pt idx="10">
                  <c:v>0.001177566916811752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32645204450961205</c:v>
                </c:pt>
                <c:pt idx="2">
                  <c:v>0.0008922086978174165</c:v>
                </c:pt>
                <c:pt idx="3">
                  <c:v>0.008890002281996521</c:v>
                </c:pt>
                <c:pt idx="4">
                  <c:v>0.0034852812814458577</c:v>
                </c:pt>
                <c:pt idx="5">
                  <c:v>0.011752993633068051</c:v>
                </c:pt>
                <c:pt idx="6">
                  <c:v>0.014915159471699387</c:v>
                </c:pt>
                <c:pt idx="7">
                  <c:v>0.037470503452530085</c:v>
                </c:pt>
                <c:pt idx="8">
                  <c:v>0.037147680845176674</c:v>
                </c:pt>
                <c:pt idx="9">
                  <c:v>0.023311076778251286</c:v>
                </c:pt>
                <c:pt idx="10">
                  <c:v>0.00700292949415178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06502139779190402</c:v>
                </c:pt>
                <c:pt idx="6">
                  <c:v>0.0024618690465788855</c:v>
                </c:pt>
                <c:pt idx="7">
                  <c:v>0.006228801064574831</c:v>
                </c:pt>
                <c:pt idx="8">
                  <c:v>0.0053013553829690235</c:v>
                </c:pt>
                <c:pt idx="9">
                  <c:v>0.001333507762564556</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21135159571873</c:v>
                </c:pt>
                <c:pt idx="1">
                  <c:v>0.0036899242420086594</c:v>
                </c:pt>
                <c:pt idx="2">
                  <c:v>0.008061650265363254</c:v>
                </c:pt>
                <c:pt idx="3">
                  <c:v>0.012221163332728317</c:v>
                </c:pt>
                <c:pt idx="4">
                  <c:v>0.009172075708646577</c:v>
                </c:pt>
                <c:pt idx="5">
                  <c:v>0.02727538387217576</c:v>
                </c:pt>
                <c:pt idx="6">
                  <c:v>0.036457590892748255</c:v>
                </c:pt>
                <c:pt idx="7">
                  <c:v>0.041942519658601025</c:v>
                </c:pt>
                <c:pt idx="8">
                  <c:v>0.04373578704538852</c:v>
                </c:pt>
                <c:pt idx="9">
                  <c:v>0.051824970469332564</c:v>
                </c:pt>
                <c:pt idx="10">
                  <c:v>0.0159731541169711</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09457498854960345</c:v>
                </c:pt>
                <c:pt idx="8">
                  <c:v>0.003290141560372032</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146139338108645</c:v>
                </c:pt>
                <c:pt idx="1">
                  <c:v>0.006041321442146539</c:v>
                </c:pt>
                <c:pt idx="2">
                  <c:v>0.002479713459043754</c:v>
                </c:pt>
                <c:pt idx="3">
                  <c:v>0.00542251771131146</c:v>
                </c:pt>
                <c:pt idx="4">
                  <c:v>0.014647987527382434</c:v>
                </c:pt>
                <c:pt idx="5">
                  <c:v>0.03867168271285739</c:v>
                </c:pt>
                <c:pt idx="6">
                  <c:v>0.034957308697417255</c:v>
                </c:pt>
                <c:pt idx="7">
                  <c:v>0.045440172907016844</c:v>
                </c:pt>
                <c:pt idx="8">
                  <c:v>0.06470167447026794</c:v>
                </c:pt>
                <c:pt idx="9">
                  <c:v>0.041080999057069814</c:v>
                </c:pt>
                <c:pt idx="10">
                  <c:v>0.001675934445244154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0023487524056565</c:v>
                </c:pt>
                <c:pt idx="1">
                  <c:v>0.007041809033064993</c:v>
                </c:pt>
                <c:pt idx="2">
                  <c:v>0.006404832278025884</c:v>
                </c:pt>
                <c:pt idx="3">
                  <c:v>0.004512267168976211</c:v>
                </c:pt>
                <c:pt idx="4">
                  <c:v>0.01148249979508143</c:v>
                </c:pt>
                <c:pt idx="5">
                  <c:v>0.015093720200513583</c:v>
                </c:pt>
                <c:pt idx="6">
                  <c:v>0.03091040212775041</c:v>
                </c:pt>
                <c:pt idx="7">
                  <c:v>0.035891508145291226</c:v>
                </c:pt>
                <c:pt idx="8">
                  <c:v>0.03706833568568987</c:v>
                </c:pt>
                <c:pt idx="9">
                  <c:v>0.017844158055780306</c:v>
                </c:pt>
                <c:pt idx="10">
                  <c:v>0.000888102376125233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3377181962446</c:v>
                </c:pt>
                <c:pt idx="1">
                  <c:v>0.021306896673764054</c:v>
                </c:pt>
                <c:pt idx="2">
                  <c:v>0.025548831278795543</c:v>
                </c:pt>
                <c:pt idx="3">
                  <c:v>0.05776797036686218</c:v>
                </c:pt>
                <c:pt idx="4">
                  <c:v>0.07327807666778323</c:v>
                </c:pt>
                <c:pt idx="5">
                  <c:v>0.11719239595450313</c:v>
                </c:pt>
                <c:pt idx="6">
                  <c:v>0.1336363149639797</c:v>
                </c:pt>
                <c:pt idx="7">
                  <c:v>0.18577181469164547</c:v>
                </c:pt>
                <c:pt idx="8">
                  <c:v>0.2060222230819663</c:v>
                </c:pt>
                <c:pt idx="9">
                  <c:v>0.13022682695731488</c:v>
                </c:pt>
                <c:pt idx="10">
                  <c:v>0.02531487754376105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86739615292647</c:v>
                </c:pt>
                <c:pt idx="1">
                  <c:v>0.022440013185811042</c:v>
                </c:pt>
                <c:pt idx="2">
                  <c:v>0.025308299426034547</c:v>
                </c:pt>
                <c:pt idx="3">
                  <c:v>0.05376235000431038</c:v>
                </c:pt>
                <c:pt idx="4">
                  <c:v>0.06047976889902426</c:v>
                </c:pt>
                <c:pt idx="5">
                  <c:v>0.11906086687087766</c:v>
                </c:pt>
                <c:pt idx="6">
                  <c:v>0.13389055283916435</c:v>
                </c:pt>
                <c:pt idx="7">
                  <c:v>0.18936383046379757</c:v>
                </c:pt>
                <c:pt idx="8">
                  <c:v>0.2079537278099954</c:v>
                </c:pt>
                <c:pt idx="9">
                  <c:v>0.1370361635363881</c:v>
                </c:pt>
                <c:pt idx="10">
                  <c:v>0.02671768734930402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828116131706631</c:v>
                </c:pt>
                <c:pt idx="2">
                  <c:v>0.0030098900738080516</c:v>
                </c:pt>
                <c:pt idx="3">
                  <c:v>0.0010402111849842667</c:v>
                </c:pt>
                <c:pt idx="4">
                  <c:v>0.004818518734354006</c:v>
                </c:pt>
                <c:pt idx="5">
                  <c:v>0.009944492177066288</c:v>
                </c:pt>
                <c:pt idx="6">
                  <c:v>0.007487798765379195</c:v>
                </c:pt>
                <c:pt idx="7">
                  <c:v>0.0019435688310811372</c:v>
                </c:pt>
                <c:pt idx="8">
                  <c:v>0.003394697070460796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0023487524056565</c:v>
                </c:pt>
                <c:pt idx="1">
                  <c:v>0.007041809033064993</c:v>
                </c:pt>
                <c:pt idx="2">
                  <c:v>0.006404832278025884</c:v>
                </c:pt>
                <c:pt idx="3">
                  <c:v>0.004512267168976211</c:v>
                </c:pt>
                <c:pt idx="4">
                  <c:v>0.01148249979508143</c:v>
                </c:pt>
                <c:pt idx="5">
                  <c:v>0.015093720200513583</c:v>
                </c:pt>
                <c:pt idx="6">
                  <c:v>0.03091040212775041</c:v>
                </c:pt>
                <c:pt idx="7">
                  <c:v>0.035891508145291226</c:v>
                </c:pt>
                <c:pt idx="8">
                  <c:v>0.03706833568568987</c:v>
                </c:pt>
                <c:pt idx="9">
                  <c:v>0.017844158055780306</c:v>
                </c:pt>
                <c:pt idx="10">
                  <c:v>0.000888102376125233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0023487524056565</c:v>
                </c:pt>
                <c:pt idx="1">
                  <c:v>0.007041809033064993</c:v>
                </c:pt>
                <c:pt idx="2">
                  <c:v>0.006404832278025884</c:v>
                </c:pt>
                <c:pt idx="3">
                  <c:v>0.004512267168976211</c:v>
                </c:pt>
                <c:pt idx="4">
                  <c:v>0.01148249979508143</c:v>
                </c:pt>
                <c:pt idx="5">
                  <c:v>0.015093720200513583</c:v>
                </c:pt>
                <c:pt idx="6">
                  <c:v>0.03091040212775041</c:v>
                </c:pt>
                <c:pt idx="7">
                  <c:v>0.035891508145291226</c:v>
                </c:pt>
                <c:pt idx="8">
                  <c:v>0.03706833568568987</c:v>
                </c:pt>
                <c:pt idx="9">
                  <c:v>0.017844158055780306</c:v>
                </c:pt>
                <c:pt idx="10">
                  <c:v>0.000888102376125233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0023487524056565</c:v>
                </c:pt>
                <c:pt idx="1">
                  <c:v>0.007041809033064993</c:v>
                </c:pt>
                <c:pt idx="2">
                  <c:v>0.006404832278025884</c:v>
                </c:pt>
                <c:pt idx="3">
                  <c:v>0.004512267168976211</c:v>
                </c:pt>
                <c:pt idx="4">
                  <c:v>0.01148249979508143</c:v>
                </c:pt>
                <c:pt idx="5">
                  <c:v>0.015093720200513583</c:v>
                </c:pt>
                <c:pt idx="6">
                  <c:v>0.03091040212775041</c:v>
                </c:pt>
                <c:pt idx="7">
                  <c:v>0.035891508145291226</c:v>
                </c:pt>
                <c:pt idx="8">
                  <c:v>0.03706833568568987</c:v>
                </c:pt>
                <c:pt idx="9">
                  <c:v>0.017844158055780306</c:v>
                </c:pt>
                <c:pt idx="10">
                  <c:v>0.000888102376125233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3377181962446</c:v>
                </c:pt>
                <c:pt idx="1">
                  <c:v>0.021306896673764054</c:v>
                </c:pt>
                <c:pt idx="2">
                  <c:v>0.025548831278795543</c:v>
                </c:pt>
                <c:pt idx="3">
                  <c:v>0.05776797036686218</c:v>
                </c:pt>
                <c:pt idx="4">
                  <c:v>0.07327807666778323</c:v>
                </c:pt>
                <c:pt idx="5">
                  <c:v>0.11719239595450313</c:v>
                </c:pt>
                <c:pt idx="6">
                  <c:v>0.1336363149639797</c:v>
                </c:pt>
                <c:pt idx="7">
                  <c:v>0.18577181469164547</c:v>
                </c:pt>
                <c:pt idx="8">
                  <c:v>0.2060222230819663</c:v>
                </c:pt>
                <c:pt idx="9">
                  <c:v>0.13022682695731488</c:v>
                </c:pt>
                <c:pt idx="10">
                  <c:v>0.02531487754376105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5229844271682886</c:v>
                </c:pt>
                <c:pt idx="1">
                  <c:v>0.001259059205196047</c:v>
                </c:pt>
                <c:pt idx="2">
                  <c:v>0.032731555461713205</c:v>
                </c:pt>
                <c:pt idx="3">
                  <c:v>0.1415219798443428</c:v>
                </c:pt>
                <c:pt idx="4">
                  <c:v>0.32430501393489064</c:v>
                </c:pt>
                <c:pt idx="5">
                  <c:v>0.07999615168178827</c:v>
                </c:pt>
                <c:pt idx="6">
                  <c:v>0.09644564249232464</c:v>
                </c:pt>
                <c:pt idx="7">
                  <c:v>0.11128880451125543</c:v>
                </c:pt>
                <c:pt idx="8">
                  <c:v>0.1775377473943334</c:v>
                </c:pt>
                <c:pt idx="9">
                  <c:v>0.0092913757652238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97801642155172</c:v>
                </c:pt>
                <c:pt idx="1">
                  <c:v>0.015499323616429533</c:v>
                </c:pt>
                <c:pt idx="2">
                  <c:v>0.020328229017232035</c:v>
                </c:pt>
                <c:pt idx="3">
                  <c:v>0.04426378969025742</c:v>
                </c:pt>
                <c:pt idx="4">
                  <c:v>0.06509450789254996</c:v>
                </c:pt>
                <c:pt idx="5">
                  <c:v>0.10204826864942468</c:v>
                </c:pt>
                <c:pt idx="6">
                  <c:v>0.12638325694294628</c:v>
                </c:pt>
                <c:pt idx="7">
                  <c:v>0.1760557863873334</c:v>
                </c:pt>
                <c:pt idx="8">
                  <c:v>0.25472703021903487</c:v>
                </c:pt>
                <c:pt idx="9">
                  <c:v>0.09896421392959569</c:v>
                </c:pt>
                <c:pt idx="10">
                  <c:v>0.07783779201304099</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3377181962446</c:v>
                </c:pt>
                <c:pt idx="1">
                  <c:v>0.021306896673764054</c:v>
                </c:pt>
                <c:pt idx="2">
                  <c:v>0.025548831278795543</c:v>
                </c:pt>
                <c:pt idx="3">
                  <c:v>0.05776797036686218</c:v>
                </c:pt>
                <c:pt idx="4">
                  <c:v>0.07327807666778323</c:v>
                </c:pt>
                <c:pt idx="5">
                  <c:v>0.11719239595450313</c:v>
                </c:pt>
                <c:pt idx="6">
                  <c:v>0.1336363149639797</c:v>
                </c:pt>
                <c:pt idx="7">
                  <c:v>0.18577181469164547</c:v>
                </c:pt>
                <c:pt idx="8">
                  <c:v>0.2060222230819663</c:v>
                </c:pt>
                <c:pt idx="9">
                  <c:v>0.13022682695731488</c:v>
                </c:pt>
                <c:pt idx="10">
                  <c:v>0.02531487754376105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5229844271682886</c:v>
                </c:pt>
                <c:pt idx="1">
                  <c:v>0.001259059205196047</c:v>
                </c:pt>
                <c:pt idx="2">
                  <c:v>0.032731555461713205</c:v>
                </c:pt>
                <c:pt idx="3">
                  <c:v>0.1415219798443428</c:v>
                </c:pt>
                <c:pt idx="4">
                  <c:v>0.32430501393489064</c:v>
                </c:pt>
                <c:pt idx="5">
                  <c:v>0.07999615168178827</c:v>
                </c:pt>
                <c:pt idx="6">
                  <c:v>0.09644564249232464</c:v>
                </c:pt>
                <c:pt idx="7">
                  <c:v>0.11128880451125543</c:v>
                </c:pt>
                <c:pt idx="8">
                  <c:v>0.1775377473943334</c:v>
                </c:pt>
                <c:pt idx="9">
                  <c:v>0.0092913757652238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1951705910143</c:v>
                </c:pt>
                <c:pt idx="1">
                  <c:v>0.0006555930918114396</c:v>
                </c:pt>
                <c:pt idx="2">
                  <c:v>0.0018509581616242188</c:v>
                </c:pt>
                <c:pt idx="3">
                  <c:v>0.14860049297530936</c:v>
                </c:pt>
                <c:pt idx="4">
                  <c:v>0.3549097890286358</c:v>
                </c:pt>
                <c:pt idx="5">
                  <c:v>0.09234732243761362</c:v>
                </c:pt>
                <c:pt idx="6">
                  <c:v>0.024790528801785797</c:v>
                </c:pt>
                <c:pt idx="7">
                  <c:v>0.128120390097668</c:v>
                </c:pt>
                <c:pt idx="8">
                  <c:v>0.22102038676692062</c:v>
                </c:pt>
                <c:pt idx="9">
                  <c:v>0.007438768929166038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54662527329399</c:v>
                </c:pt>
                <c:pt idx="1">
                  <c:v>0.009922473300098737</c:v>
                </c:pt>
                <c:pt idx="2">
                  <c:v>0.016234090341292837</c:v>
                </c:pt>
                <c:pt idx="3">
                  <c:v>0.07892262515697393</c:v>
                </c:pt>
                <c:pt idx="4">
                  <c:v>0.06113448454300473</c:v>
                </c:pt>
                <c:pt idx="5">
                  <c:v>0.11702285157285876</c:v>
                </c:pt>
                <c:pt idx="6">
                  <c:v>0.1260705027379858</c:v>
                </c:pt>
                <c:pt idx="7">
                  <c:v>0.17930534937108045</c:v>
                </c:pt>
                <c:pt idx="8">
                  <c:v>0.22856998037928503</c:v>
                </c:pt>
                <c:pt idx="9">
                  <c:v>0.10314664132259938</c:v>
                </c:pt>
                <c:pt idx="10">
                  <c:v>0.0642047485418804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527667394670337</c:v>
                </c:pt>
                <c:pt idx="1">
                  <c:v>0.010598397611318512</c:v>
                </c:pt>
                <c:pt idx="2">
                  <c:v>0.01716149788998878</c:v>
                </c:pt>
                <c:pt idx="3">
                  <c:v>0.06657601141707845</c:v>
                </c:pt>
                <c:pt idx="4">
                  <c:v>0.049079788619134326</c:v>
                </c:pt>
                <c:pt idx="5">
                  <c:v>0.1185220621878273</c:v>
                </c:pt>
                <c:pt idx="6">
                  <c:v>0.13215882489295885</c:v>
                </c:pt>
                <c:pt idx="7">
                  <c:v>0.17983556640418588</c:v>
                </c:pt>
                <c:pt idx="8">
                  <c:v>0.23095884548151405</c:v>
                </c:pt>
                <c:pt idx="9">
                  <c:v>0.10991926140650649</c:v>
                </c:pt>
                <c:pt idx="10">
                  <c:v>0.0686620766948170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900747823278864</c:v>
                </c:pt>
                <c:pt idx="1">
                  <c:v>0.0022975844533108533</c:v>
                </c:pt>
                <c:pt idx="2">
                  <c:v>0.0063721832249015575</c:v>
                </c:pt>
                <c:pt idx="3">
                  <c:v>0.027246964413888044</c:v>
                </c:pt>
                <c:pt idx="4">
                  <c:v>0.008844777006694886</c:v>
                </c:pt>
                <c:pt idx="5">
                  <c:v>0.016166851103922648</c:v>
                </c:pt>
                <c:pt idx="6">
                  <c:v>0.006119915504828314</c:v>
                </c:pt>
                <c:pt idx="7">
                  <c:v>0.029582010116621038</c:v>
                </c:pt>
                <c:pt idx="8">
                  <c:v>0.020056514307340463</c:v>
                </c:pt>
                <c:pt idx="9">
                  <c:v>0.0118727688582591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07302004204151244</c:v>
                </c:pt>
                <c:pt idx="2">
                  <c:v>0.0009728323654953952</c:v>
                </c:pt>
                <c:pt idx="3">
                  <c:v>0.012506999394777668</c:v>
                </c:pt>
                <c:pt idx="4">
                  <c:v>0.004202003197264937</c:v>
                </c:pt>
                <c:pt idx="5">
                  <c:v>0.015661799088835204</c:v>
                </c:pt>
                <c:pt idx="6">
                  <c:v>0.021301084224185515</c:v>
                </c:pt>
                <c:pt idx="7">
                  <c:v>0.022186657168088413</c:v>
                </c:pt>
                <c:pt idx="8">
                  <c:v>0.05438571246522866</c:v>
                </c:pt>
                <c:pt idx="9">
                  <c:v>0.017908213054728502</c:v>
                </c:pt>
                <c:pt idx="10">
                  <c:v>0.01533886148180537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31341210426330847</c:v>
                </c:pt>
                <c:pt idx="6">
                  <c:v>0.002852479862617364</c:v>
                </c:pt>
                <c:pt idx="7">
                  <c:v>0.0026955819646406333</c:v>
                </c:pt>
                <c:pt idx="8">
                  <c:v>0.013628020935255242</c:v>
                </c:pt>
                <c:pt idx="9">
                  <c:v>0.0018839609848444547</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8805202496150643</c:v>
                </c:pt>
                <c:pt idx="1">
                  <c:v>0.0008365609396561487</c:v>
                </c:pt>
                <c:pt idx="2">
                  <c:v>0.004393435086665038</c:v>
                </c:pt>
                <c:pt idx="3">
                  <c:v>0.01968322194907931</c:v>
                </c:pt>
                <c:pt idx="4">
                  <c:v>0.005138682274131464</c:v>
                </c:pt>
                <c:pt idx="5">
                  <c:v>0.01742587120463803</c:v>
                </c:pt>
                <c:pt idx="6">
                  <c:v>0.026259398357063143</c:v>
                </c:pt>
                <c:pt idx="7">
                  <c:v>0.044698944394414075</c:v>
                </c:pt>
                <c:pt idx="8">
                  <c:v>0.031708573478283146</c:v>
                </c:pt>
                <c:pt idx="9">
                  <c:v>0.028496393961659157</c:v>
                </c:pt>
                <c:pt idx="10">
                  <c:v>0.0340217769314923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8">
                  <c:v>0.0027399082689178733</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902193354762219</c:v>
                </c:pt>
                <c:pt idx="1">
                  <c:v>0.0020092817176591967</c:v>
                </c:pt>
                <c:pt idx="2">
                  <c:v>0.002075968585710743</c:v>
                </c:pt>
                <c:pt idx="3">
                  <c:v>0.003602428403839386</c:v>
                </c:pt>
                <c:pt idx="4">
                  <c:v>0.01855933054781863</c:v>
                </c:pt>
                <c:pt idx="5">
                  <c:v>0.04489684129746921</c:v>
                </c:pt>
                <c:pt idx="6">
                  <c:v>0.03705695387087179</c:v>
                </c:pt>
                <c:pt idx="7">
                  <c:v>0.04851663496801073</c:v>
                </c:pt>
                <c:pt idx="8">
                  <c:v>0.05806790908436186</c:v>
                </c:pt>
                <c:pt idx="9">
                  <c:v>0.036952581382464156</c:v>
                </c:pt>
                <c:pt idx="10">
                  <c:v>0.0192528489294969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82005865052735</c:v>
                </c:pt>
                <c:pt idx="1">
                  <c:v>0.0015657351674276173</c:v>
                </c:pt>
                <c:pt idx="2">
                  <c:v>0.002799516147037759</c:v>
                </c:pt>
                <c:pt idx="3">
                  <c:v>0.0021314125567307774</c:v>
                </c:pt>
                <c:pt idx="4">
                  <c:v>0.008964208437320782</c:v>
                </c:pt>
                <c:pt idx="5">
                  <c:v>0.015764691424802583</c:v>
                </c:pt>
                <c:pt idx="6">
                  <c:v>0.03479869694614687</c:v>
                </c:pt>
                <c:pt idx="7">
                  <c:v>0.027405787727553806</c:v>
                </c:pt>
                <c:pt idx="8">
                  <c:v>0.06318641884615243</c:v>
                </c:pt>
                <c:pt idx="9">
                  <c:v>0.0136442139073102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54662527329399</c:v>
                </c:pt>
                <c:pt idx="1">
                  <c:v>0.009922473300098737</c:v>
                </c:pt>
                <c:pt idx="2">
                  <c:v>0.016234090341292837</c:v>
                </c:pt>
                <c:pt idx="3">
                  <c:v>0.07892262515697393</c:v>
                </c:pt>
                <c:pt idx="4">
                  <c:v>0.06113448454300473</c:v>
                </c:pt>
                <c:pt idx="5">
                  <c:v>0.11702285157285876</c:v>
                </c:pt>
                <c:pt idx="6">
                  <c:v>0.1260705027379858</c:v>
                </c:pt>
                <c:pt idx="7">
                  <c:v>0.17930534937108045</c:v>
                </c:pt>
                <c:pt idx="8">
                  <c:v>0.22856998037928503</c:v>
                </c:pt>
                <c:pt idx="9">
                  <c:v>0.10314664132259938</c:v>
                </c:pt>
                <c:pt idx="10">
                  <c:v>0.0642047485418804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527667394670337</c:v>
                </c:pt>
                <c:pt idx="1">
                  <c:v>0.010598397611318512</c:v>
                </c:pt>
                <c:pt idx="2">
                  <c:v>0.01716149788998878</c:v>
                </c:pt>
                <c:pt idx="3">
                  <c:v>0.06657601141707845</c:v>
                </c:pt>
                <c:pt idx="4">
                  <c:v>0.049079788619134326</c:v>
                </c:pt>
                <c:pt idx="5">
                  <c:v>0.1185220621878273</c:v>
                </c:pt>
                <c:pt idx="6">
                  <c:v>0.13215882489295885</c:v>
                </c:pt>
                <c:pt idx="7">
                  <c:v>0.17983556640418588</c:v>
                </c:pt>
                <c:pt idx="8">
                  <c:v>0.23095884548151405</c:v>
                </c:pt>
                <c:pt idx="9">
                  <c:v>0.10991926140650649</c:v>
                </c:pt>
                <c:pt idx="10">
                  <c:v>0.0686620766948170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7986231194130583</c:v>
                </c:pt>
                <c:pt idx="1">
                  <c:v>0.003159034912849572</c:v>
                </c:pt>
                <c:pt idx="2">
                  <c:v>0.0005475624801782846</c:v>
                </c:pt>
                <c:pt idx="3">
                  <c:v>0.0014049846987632627</c:v>
                </c:pt>
                <c:pt idx="4">
                  <c:v>0.003370787155903627</c:v>
                </c:pt>
                <c:pt idx="5">
                  <c:v>0.008606008068159633</c:v>
                </c:pt>
                <c:pt idx="6">
                  <c:v>0.006622775989863206</c:v>
                </c:pt>
                <c:pt idx="7">
                  <c:v>0.007445532029497834</c:v>
                </c:pt>
                <c:pt idx="8">
                  <c:v>0.003553717300147474</c:v>
                </c:pt>
                <c:pt idx="9">
                  <c:v>0.001045090242085297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4544195014460198</c:v>
                </c:pt>
                <c:pt idx="3">
                  <c:v>0.0010915287386305847</c:v>
                </c:pt>
                <c:pt idx="4">
                  <c:v>0.0007475996396286247</c:v>
                </c:pt>
                <c:pt idx="5">
                  <c:v>0.002990240658963256</c:v>
                </c:pt>
                <c:pt idx="6">
                  <c:v>0.001910261788220752</c:v>
                </c:pt>
                <c:pt idx="7">
                  <c:v>0.006261827233879396</c:v>
                </c:pt>
                <c:pt idx="8">
                  <c:v>0.007048571996778129</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82005865052735</c:v>
                </c:pt>
                <c:pt idx="1">
                  <c:v>0.0015657351674276173</c:v>
                </c:pt>
                <c:pt idx="2">
                  <c:v>0.002799516147037759</c:v>
                </c:pt>
                <c:pt idx="3">
                  <c:v>0.0021314125567307774</c:v>
                </c:pt>
                <c:pt idx="4">
                  <c:v>0.008964208437320782</c:v>
                </c:pt>
                <c:pt idx="5">
                  <c:v>0.015764691424802583</c:v>
                </c:pt>
                <c:pt idx="6">
                  <c:v>0.03479869694614687</c:v>
                </c:pt>
                <c:pt idx="7">
                  <c:v>0.027405787727553806</c:v>
                </c:pt>
                <c:pt idx="8">
                  <c:v>0.06318641884615243</c:v>
                </c:pt>
                <c:pt idx="9">
                  <c:v>0.0136442139073102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82005865052735</c:v>
                </c:pt>
                <c:pt idx="1">
                  <c:v>0.0015657351674276173</c:v>
                </c:pt>
                <c:pt idx="2">
                  <c:v>0.002799516147037759</c:v>
                </c:pt>
                <c:pt idx="3">
                  <c:v>0.0021314125567307774</c:v>
                </c:pt>
                <c:pt idx="4">
                  <c:v>0.008964208437320782</c:v>
                </c:pt>
                <c:pt idx="5">
                  <c:v>0.015764691424802583</c:v>
                </c:pt>
                <c:pt idx="6">
                  <c:v>0.03479869694614687</c:v>
                </c:pt>
                <c:pt idx="7">
                  <c:v>0.027405787727553806</c:v>
                </c:pt>
                <c:pt idx="8">
                  <c:v>0.06318641884615243</c:v>
                </c:pt>
                <c:pt idx="9">
                  <c:v>0.0136442139073102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82005865052735</c:v>
                </c:pt>
                <c:pt idx="1">
                  <c:v>0.0015657351674276173</c:v>
                </c:pt>
                <c:pt idx="2">
                  <c:v>0.002799516147037759</c:v>
                </c:pt>
                <c:pt idx="3">
                  <c:v>0.0021314125567307774</c:v>
                </c:pt>
                <c:pt idx="4">
                  <c:v>0.008964208437320782</c:v>
                </c:pt>
                <c:pt idx="5">
                  <c:v>0.015764691424802583</c:v>
                </c:pt>
                <c:pt idx="6">
                  <c:v>0.03479869694614687</c:v>
                </c:pt>
                <c:pt idx="7">
                  <c:v>0.027405787727553806</c:v>
                </c:pt>
                <c:pt idx="8">
                  <c:v>0.06318641884615243</c:v>
                </c:pt>
                <c:pt idx="9">
                  <c:v>0.0136442139073102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54662527329399</c:v>
                </c:pt>
                <c:pt idx="1">
                  <c:v>0.009922473300098737</c:v>
                </c:pt>
                <c:pt idx="2">
                  <c:v>0.016234090341292837</c:v>
                </c:pt>
                <c:pt idx="3">
                  <c:v>0.07892262515697393</c:v>
                </c:pt>
                <c:pt idx="4">
                  <c:v>0.06113448454300473</c:v>
                </c:pt>
                <c:pt idx="5">
                  <c:v>0.11702285157285876</c:v>
                </c:pt>
                <c:pt idx="6">
                  <c:v>0.1260705027379858</c:v>
                </c:pt>
                <c:pt idx="7">
                  <c:v>0.17930534937108045</c:v>
                </c:pt>
                <c:pt idx="8">
                  <c:v>0.22856998037928503</c:v>
                </c:pt>
                <c:pt idx="9">
                  <c:v>0.10314664132259938</c:v>
                </c:pt>
                <c:pt idx="10">
                  <c:v>0.0642047485418804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0096130298614627</c:v>
                </c:pt>
                <c:pt idx="3">
                  <c:v>0.2686462022630614</c:v>
                </c:pt>
                <c:pt idx="4">
                  <c:v>0.24445258049451574</c:v>
                </c:pt>
                <c:pt idx="5">
                  <c:v>0.09709962314476883</c:v>
                </c:pt>
                <c:pt idx="6">
                  <c:v>0.029819821017562358</c:v>
                </c:pt>
                <c:pt idx="7">
                  <c:v>0.16448722706132768</c:v>
                </c:pt>
                <c:pt idx="8">
                  <c:v>0.192282414570228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54662527329399</c:v>
                </c:pt>
                <c:pt idx="1">
                  <c:v>0.009922473300098737</c:v>
                </c:pt>
                <c:pt idx="2">
                  <c:v>0.016234090341292837</c:v>
                </c:pt>
                <c:pt idx="3">
                  <c:v>0.07892262515697393</c:v>
                </c:pt>
                <c:pt idx="4">
                  <c:v>0.06113448454300473</c:v>
                </c:pt>
                <c:pt idx="5">
                  <c:v>0.11702285157285876</c:v>
                </c:pt>
                <c:pt idx="6">
                  <c:v>0.1260705027379858</c:v>
                </c:pt>
                <c:pt idx="7">
                  <c:v>0.17930534937108045</c:v>
                </c:pt>
                <c:pt idx="8">
                  <c:v>0.22856998037928503</c:v>
                </c:pt>
                <c:pt idx="9">
                  <c:v>0.10314664132259938</c:v>
                </c:pt>
                <c:pt idx="10">
                  <c:v>0.0642047485418804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0096130298614627</c:v>
                </c:pt>
                <c:pt idx="3">
                  <c:v>0.2686462022630614</c:v>
                </c:pt>
                <c:pt idx="4">
                  <c:v>0.24445258049451574</c:v>
                </c:pt>
                <c:pt idx="5">
                  <c:v>0.09709962314476883</c:v>
                </c:pt>
                <c:pt idx="6">
                  <c:v>0.029819821017562358</c:v>
                </c:pt>
                <c:pt idx="7">
                  <c:v>0.16448722706132768</c:v>
                </c:pt>
                <c:pt idx="8">
                  <c:v>0.192282414570228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3377181962446</c:v>
                </c:pt>
                <c:pt idx="1">
                  <c:v>0.021306896673764054</c:v>
                </c:pt>
                <c:pt idx="2">
                  <c:v>0.025548831278795543</c:v>
                </c:pt>
                <c:pt idx="3">
                  <c:v>0.05776797036686218</c:v>
                </c:pt>
                <c:pt idx="4">
                  <c:v>0.07327807666778323</c:v>
                </c:pt>
                <c:pt idx="5">
                  <c:v>0.11719239595450313</c:v>
                </c:pt>
                <c:pt idx="6">
                  <c:v>0.1336363149639797</c:v>
                </c:pt>
                <c:pt idx="7">
                  <c:v>0.18577181469164547</c:v>
                </c:pt>
                <c:pt idx="8">
                  <c:v>0.2060222230819663</c:v>
                </c:pt>
                <c:pt idx="9">
                  <c:v>0.13022682695731488</c:v>
                </c:pt>
                <c:pt idx="10">
                  <c:v>0.02531487754376105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2223635409440632</c:v>
                </c:pt>
                <c:pt idx="3">
                  <c:v>0.008263904570286508</c:v>
                </c:pt>
                <c:pt idx="4">
                  <c:v>0.0032244798003789273</c:v>
                </c:pt>
                <c:pt idx="5">
                  <c:v>0.008273784216815861</c:v>
                </c:pt>
                <c:pt idx="6">
                  <c:v>0.022474963516982076</c:v>
                </c:pt>
                <c:pt idx="7">
                  <c:v>0.0199172410384853</c:v>
                </c:pt>
                <c:pt idx="8">
                  <c:v>0.047123298578838714</c:v>
                </c:pt>
                <c:pt idx="9">
                  <c:v>0.02160668785013409</c:v>
                </c:pt>
                <c:pt idx="10">
                  <c:v>0.01705034290444128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86739615292647</c:v>
                </c:pt>
                <c:pt idx="1">
                  <c:v>0.022440013185811042</c:v>
                </c:pt>
                <c:pt idx="2">
                  <c:v>0.025308299426034547</c:v>
                </c:pt>
                <c:pt idx="3">
                  <c:v>0.05376235000431038</c:v>
                </c:pt>
                <c:pt idx="4">
                  <c:v>0.06047976889902426</c:v>
                </c:pt>
                <c:pt idx="5">
                  <c:v>0.11906086687087766</c:v>
                </c:pt>
                <c:pt idx="6">
                  <c:v>0.13389055283916435</c:v>
                </c:pt>
                <c:pt idx="7">
                  <c:v>0.18936383046379757</c:v>
                </c:pt>
                <c:pt idx="8">
                  <c:v>0.2079537278099954</c:v>
                </c:pt>
                <c:pt idx="9">
                  <c:v>0.1370361635363881</c:v>
                </c:pt>
                <c:pt idx="10">
                  <c:v>0.02671768734930402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6156924401888873</c:v>
                </c:pt>
                <c:pt idx="1">
                  <c:v>0.0019750903821412666</c:v>
                </c:pt>
                <c:pt idx="2">
                  <c:v>0.004460004651976185</c:v>
                </c:pt>
                <c:pt idx="3">
                  <c:v>0.021676188324313603</c:v>
                </c:pt>
                <c:pt idx="4">
                  <c:v>0.016873405852113957</c:v>
                </c:pt>
                <c:pt idx="5">
                  <c:v>0.01632259427519659</c:v>
                </c:pt>
                <c:pt idx="6">
                  <c:v>0.009162292884169847</c:v>
                </c:pt>
                <c:pt idx="7">
                  <c:v>0.026675557469277255</c:v>
                </c:pt>
                <c:pt idx="8">
                  <c:v>0.02190555269301163</c:v>
                </c:pt>
                <c:pt idx="9">
                  <c:v>0.002519760364659387</c:v>
                </c:pt>
                <c:pt idx="10">
                  <c:v>0.001177566916811752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88488110655021</c:v>
                </c:pt>
                <c:pt idx="3">
                  <c:v>0.004504171129757354</c:v>
                </c:pt>
                <c:pt idx="4">
                  <c:v>0.0008002239117989131</c:v>
                </c:pt>
                <c:pt idx="5">
                  <c:v>0.003204383171782237</c:v>
                </c:pt>
                <c:pt idx="6">
                  <c:v>0.002166808830995274</c:v>
                </c:pt>
                <c:pt idx="7">
                  <c:v>0.006844037767983205</c:v>
                </c:pt>
                <c:pt idx="8">
                  <c:v>0.0067287268486735784</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32645204450961205</c:v>
                </c:pt>
                <c:pt idx="2">
                  <c:v>0.0008922086978174165</c:v>
                </c:pt>
                <c:pt idx="3">
                  <c:v>0.008890002281996521</c:v>
                </c:pt>
                <c:pt idx="4">
                  <c:v>0.0034852812814458577</c:v>
                </c:pt>
                <c:pt idx="5">
                  <c:v>0.011752993633068051</c:v>
                </c:pt>
                <c:pt idx="6">
                  <c:v>0.014915159471699387</c:v>
                </c:pt>
                <c:pt idx="7">
                  <c:v>0.037470503452530085</c:v>
                </c:pt>
                <c:pt idx="8">
                  <c:v>0.037147680845176674</c:v>
                </c:pt>
                <c:pt idx="9">
                  <c:v>0.023311076778251286</c:v>
                </c:pt>
                <c:pt idx="10">
                  <c:v>0.00700292949415178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06792775661721352</c:v>
                </c:pt>
                <c:pt idx="7">
                  <c:v>0.0009357643287769991</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21135159571873</c:v>
                </c:pt>
                <c:pt idx="1">
                  <c:v>0.0036899242420086594</c:v>
                </c:pt>
                <c:pt idx="2">
                  <c:v>0.008061650265363254</c:v>
                </c:pt>
                <c:pt idx="3">
                  <c:v>0.012221163332728317</c:v>
                </c:pt>
                <c:pt idx="4">
                  <c:v>0.009172075708646577</c:v>
                </c:pt>
                <c:pt idx="5">
                  <c:v>0.02727538387217576</c:v>
                </c:pt>
                <c:pt idx="6">
                  <c:v>0.036457590892748255</c:v>
                </c:pt>
                <c:pt idx="7">
                  <c:v>0.041942519658601025</c:v>
                </c:pt>
                <c:pt idx="8">
                  <c:v>0.04373578704538852</c:v>
                </c:pt>
                <c:pt idx="9">
                  <c:v>0.051824970469332564</c:v>
                </c:pt>
                <c:pt idx="10">
                  <c:v>0.0159731541169711</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146139338108645</c:v>
                </c:pt>
                <c:pt idx="1">
                  <c:v>0.006041321442146539</c:v>
                </c:pt>
                <c:pt idx="2">
                  <c:v>0.002479713459043754</c:v>
                </c:pt>
                <c:pt idx="3">
                  <c:v>0.00542251771131146</c:v>
                </c:pt>
                <c:pt idx="4">
                  <c:v>0.014647987527382434</c:v>
                </c:pt>
                <c:pt idx="5">
                  <c:v>0.03867168271285739</c:v>
                </c:pt>
                <c:pt idx="6">
                  <c:v>0.034957308697417255</c:v>
                </c:pt>
                <c:pt idx="7">
                  <c:v>0.045440172907016844</c:v>
                </c:pt>
                <c:pt idx="8">
                  <c:v>0.06470167447026794</c:v>
                </c:pt>
                <c:pt idx="9">
                  <c:v>0.041080999057069814</c:v>
                </c:pt>
                <c:pt idx="10">
                  <c:v>0.001675934445244154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0023487524056565</c:v>
                </c:pt>
                <c:pt idx="1">
                  <c:v>0.007041809033064993</c:v>
                </c:pt>
                <c:pt idx="2">
                  <c:v>0.006404832278025884</c:v>
                </c:pt>
                <c:pt idx="3">
                  <c:v>0.004512267168976211</c:v>
                </c:pt>
                <c:pt idx="4">
                  <c:v>0.01148249979508143</c:v>
                </c:pt>
                <c:pt idx="5">
                  <c:v>0.015093720200513583</c:v>
                </c:pt>
                <c:pt idx="6">
                  <c:v>0.03091040212775041</c:v>
                </c:pt>
                <c:pt idx="7">
                  <c:v>0.035891508145291226</c:v>
                </c:pt>
                <c:pt idx="8">
                  <c:v>0.03706833568568987</c:v>
                </c:pt>
                <c:pt idx="9">
                  <c:v>0.017844158055780306</c:v>
                </c:pt>
                <c:pt idx="10">
                  <c:v>0.000888102376125233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8">
                  <c:v>0.0006578214686762091</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3377181962446</c:v>
                </c:pt>
                <c:pt idx="1">
                  <c:v>0.021306896673764054</c:v>
                </c:pt>
                <c:pt idx="2">
                  <c:v>0.025548831278795543</c:v>
                </c:pt>
                <c:pt idx="3">
                  <c:v>0.05776797036686218</c:v>
                </c:pt>
                <c:pt idx="4">
                  <c:v>0.07327807666778323</c:v>
                </c:pt>
                <c:pt idx="5">
                  <c:v>0.11719239595450313</c:v>
                </c:pt>
                <c:pt idx="6">
                  <c:v>0.1336363149639797</c:v>
                </c:pt>
                <c:pt idx="7">
                  <c:v>0.18577181469164547</c:v>
                </c:pt>
                <c:pt idx="8">
                  <c:v>0.2060222230819663</c:v>
                </c:pt>
                <c:pt idx="9">
                  <c:v>0.13022682695731488</c:v>
                </c:pt>
                <c:pt idx="10">
                  <c:v>0.02531487754376105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86739615292647</c:v>
                </c:pt>
                <c:pt idx="1">
                  <c:v>0.022440013185811042</c:v>
                </c:pt>
                <c:pt idx="2">
                  <c:v>0.025308299426034547</c:v>
                </c:pt>
                <c:pt idx="3">
                  <c:v>0.05376235000431038</c:v>
                </c:pt>
                <c:pt idx="4">
                  <c:v>0.06047976889902426</c:v>
                </c:pt>
                <c:pt idx="5">
                  <c:v>0.11906086687087766</c:v>
                </c:pt>
                <c:pt idx="6">
                  <c:v>0.13389055283916435</c:v>
                </c:pt>
                <c:pt idx="7">
                  <c:v>0.18936383046379757</c:v>
                </c:pt>
                <c:pt idx="8">
                  <c:v>0.2079537278099954</c:v>
                </c:pt>
                <c:pt idx="9">
                  <c:v>0.1370361635363881</c:v>
                </c:pt>
                <c:pt idx="10">
                  <c:v>0.02671768734930402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828116131706631</c:v>
                </c:pt>
                <c:pt idx="2">
                  <c:v>0.0030098900738080516</c:v>
                </c:pt>
                <c:pt idx="3">
                  <c:v>0.0010402111849842667</c:v>
                </c:pt>
                <c:pt idx="4">
                  <c:v>0.004818518734354006</c:v>
                </c:pt>
                <c:pt idx="5">
                  <c:v>0.009944492177066288</c:v>
                </c:pt>
                <c:pt idx="6">
                  <c:v>0.007487798765379195</c:v>
                </c:pt>
                <c:pt idx="7">
                  <c:v>0.0019435688310811372</c:v>
                </c:pt>
                <c:pt idx="8">
                  <c:v>0.003394697070460796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0023487524056565</c:v>
                </c:pt>
                <c:pt idx="1">
                  <c:v>0.007041809033064993</c:v>
                </c:pt>
                <c:pt idx="2">
                  <c:v>0.006404832278025884</c:v>
                </c:pt>
                <c:pt idx="3">
                  <c:v>0.004512267168976211</c:v>
                </c:pt>
                <c:pt idx="4">
                  <c:v>0.01148249979508143</c:v>
                </c:pt>
                <c:pt idx="5">
                  <c:v>0.015093720200513583</c:v>
                </c:pt>
                <c:pt idx="6">
                  <c:v>0.03091040212775041</c:v>
                </c:pt>
                <c:pt idx="7">
                  <c:v>0.035891508145291226</c:v>
                </c:pt>
                <c:pt idx="8">
                  <c:v>0.03706833568568987</c:v>
                </c:pt>
                <c:pt idx="9">
                  <c:v>0.017844158055780306</c:v>
                </c:pt>
                <c:pt idx="10">
                  <c:v>0.000888102376125233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0023487524056565</c:v>
                </c:pt>
                <c:pt idx="1">
                  <c:v>0.007041809033064993</c:v>
                </c:pt>
                <c:pt idx="2">
                  <c:v>0.006404832278025884</c:v>
                </c:pt>
                <c:pt idx="3">
                  <c:v>0.004512267168976211</c:v>
                </c:pt>
                <c:pt idx="4">
                  <c:v>0.01148249979508143</c:v>
                </c:pt>
                <c:pt idx="5">
                  <c:v>0.015093720200513583</c:v>
                </c:pt>
                <c:pt idx="6">
                  <c:v>0.03091040212775041</c:v>
                </c:pt>
                <c:pt idx="7">
                  <c:v>0.035891508145291226</c:v>
                </c:pt>
                <c:pt idx="8">
                  <c:v>0.03706833568568987</c:v>
                </c:pt>
                <c:pt idx="9">
                  <c:v>0.017844158055780306</c:v>
                </c:pt>
                <c:pt idx="10">
                  <c:v>0.000888102376125233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531667993871335</c:v>
                </c:pt>
                <c:pt idx="1">
                  <c:v>0.0029670087020222157</c:v>
                </c:pt>
                <c:pt idx="2">
                  <c:v>0.003974113438506448</c:v>
                </c:pt>
                <c:pt idx="3">
                  <c:v>0.010807503485784636</c:v>
                </c:pt>
                <c:pt idx="4">
                  <c:v>0.014430319479896448</c:v>
                </c:pt>
                <c:pt idx="5">
                  <c:v>0.01623842318669991</c:v>
                </c:pt>
                <c:pt idx="6">
                  <c:v>0.025211935322992318</c:v>
                </c:pt>
                <c:pt idx="7">
                  <c:v>0.0499084421366733</c:v>
                </c:pt>
                <c:pt idx="8">
                  <c:v>0.04340608658395989</c:v>
                </c:pt>
                <c:pt idx="9">
                  <c:v>0.012144580667783556</c:v>
                </c:pt>
                <c:pt idx="10">
                  <c:v>0.0580163998393253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0023487524056565</c:v>
                </c:pt>
                <c:pt idx="1">
                  <c:v>0.007041809033064993</c:v>
                </c:pt>
                <c:pt idx="2">
                  <c:v>0.006404832278025884</c:v>
                </c:pt>
                <c:pt idx="3">
                  <c:v>0.004512267168976211</c:v>
                </c:pt>
                <c:pt idx="4">
                  <c:v>0.01148249979508143</c:v>
                </c:pt>
                <c:pt idx="5">
                  <c:v>0.015093720200513583</c:v>
                </c:pt>
                <c:pt idx="6">
                  <c:v>0.03091040212775041</c:v>
                </c:pt>
                <c:pt idx="7">
                  <c:v>0.035891508145291226</c:v>
                </c:pt>
                <c:pt idx="8">
                  <c:v>0.03706833568568987</c:v>
                </c:pt>
                <c:pt idx="9">
                  <c:v>0.017844158055780306</c:v>
                </c:pt>
                <c:pt idx="10">
                  <c:v>0.000888102376125233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3377181962446</c:v>
                </c:pt>
                <c:pt idx="1">
                  <c:v>0.021306896673764054</c:v>
                </c:pt>
                <c:pt idx="2">
                  <c:v>0.025548831278795543</c:v>
                </c:pt>
                <c:pt idx="3">
                  <c:v>0.05776797036686218</c:v>
                </c:pt>
                <c:pt idx="4">
                  <c:v>0.07327807666778323</c:v>
                </c:pt>
                <c:pt idx="5">
                  <c:v>0.11719239595450313</c:v>
                </c:pt>
                <c:pt idx="6">
                  <c:v>0.1336363149639797</c:v>
                </c:pt>
                <c:pt idx="7">
                  <c:v>0.18577181469164547</c:v>
                </c:pt>
                <c:pt idx="8">
                  <c:v>0.2060222230819663</c:v>
                </c:pt>
                <c:pt idx="9">
                  <c:v>0.13022682695731488</c:v>
                </c:pt>
                <c:pt idx="10">
                  <c:v>0.02531487754376105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5229844271682886</c:v>
                </c:pt>
                <c:pt idx="1">
                  <c:v>0.001259059205196047</c:v>
                </c:pt>
                <c:pt idx="2">
                  <c:v>0.032731555461713205</c:v>
                </c:pt>
                <c:pt idx="3">
                  <c:v>0.1415219798443428</c:v>
                </c:pt>
                <c:pt idx="4">
                  <c:v>0.32430501393489064</c:v>
                </c:pt>
                <c:pt idx="5">
                  <c:v>0.07999615168178827</c:v>
                </c:pt>
                <c:pt idx="6">
                  <c:v>0.09644564249232464</c:v>
                </c:pt>
                <c:pt idx="7">
                  <c:v>0.11128880451125543</c:v>
                </c:pt>
                <c:pt idx="8">
                  <c:v>0.1775377473943334</c:v>
                </c:pt>
                <c:pt idx="9">
                  <c:v>0.0092913757652238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3377181962446</c:v>
                </c:pt>
                <c:pt idx="1">
                  <c:v>0.021306896673764054</c:v>
                </c:pt>
                <c:pt idx="2">
                  <c:v>0.025548831278795543</c:v>
                </c:pt>
                <c:pt idx="3">
                  <c:v>0.05776797036686218</c:v>
                </c:pt>
                <c:pt idx="4">
                  <c:v>0.07327807666778323</c:v>
                </c:pt>
                <c:pt idx="5">
                  <c:v>0.11719239595450313</c:v>
                </c:pt>
                <c:pt idx="6">
                  <c:v>0.1336363149639797</c:v>
                </c:pt>
                <c:pt idx="7">
                  <c:v>0.18577181469164547</c:v>
                </c:pt>
                <c:pt idx="8">
                  <c:v>0.2060222230819663</c:v>
                </c:pt>
                <c:pt idx="9">
                  <c:v>0.13022682695731488</c:v>
                </c:pt>
                <c:pt idx="10">
                  <c:v>0.025314877543761053</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5229844271682886</c:v>
                </c:pt>
                <c:pt idx="1">
                  <c:v>0.001259059205196047</c:v>
                </c:pt>
                <c:pt idx="2">
                  <c:v>0.032731555461713205</c:v>
                </c:pt>
                <c:pt idx="3">
                  <c:v>0.1415219798443428</c:v>
                </c:pt>
                <c:pt idx="4">
                  <c:v>0.32430501393489064</c:v>
                </c:pt>
                <c:pt idx="5">
                  <c:v>0.07999615168178827</c:v>
                </c:pt>
                <c:pt idx="6">
                  <c:v>0.09644564249232464</c:v>
                </c:pt>
                <c:pt idx="7">
                  <c:v>0.11128880451125543</c:v>
                </c:pt>
                <c:pt idx="8">
                  <c:v>0.1775377473943334</c:v>
                </c:pt>
                <c:pt idx="9">
                  <c:v>0.00929137576522382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015774232743893</c:v>
                </c:pt>
                <c:pt idx="1">
                  <c:v>0.004987355985078875</c:v>
                </c:pt>
                <c:pt idx="2">
                  <c:v>0.0029158228932860547</c:v>
                </c:pt>
                <c:pt idx="3">
                  <c:v>0.003524493903219018</c:v>
                </c:pt>
                <c:pt idx="4">
                  <c:v>0.006118537332983777</c:v>
                </c:pt>
                <c:pt idx="5">
                  <c:v>0.04105341795878317</c:v>
                </c:pt>
                <c:pt idx="6">
                  <c:v>0.035717490042248376</c:v>
                </c:pt>
                <c:pt idx="7">
                  <c:v>0.03961365245921343</c:v>
                </c:pt>
                <c:pt idx="8">
                  <c:v>0.07404401225868146</c:v>
                </c:pt>
                <c:pt idx="9">
                  <c:v>0.04960988854836996</c:v>
                </c:pt>
                <c:pt idx="10">
                  <c:v>0.005752853234754759</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54662527329399</c:v>
                </c:pt>
                <c:pt idx="1">
                  <c:v>0.009922473300098737</c:v>
                </c:pt>
                <c:pt idx="2">
                  <c:v>0.016234090341292837</c:v>
                </c:pt>
                <c:pt idx="3">
                  <c:v>0.07892262515697393</c:v>
                </c:pt>
                <c:pt idx="4">
                  <c:v>0.06113448454300473</c:v>
                </c:pt>
                <c:pt idx="5">
                  <c:v>0.11702285157285876</c:v>
                </c:pt>
                <c:pt idx="6">
                  <c:v>0.1260705027379858</c:v>
                </c:pt>
                <c:pt idx="7">
                  <c:v>0.17930534937108045</c:v>
                </c:pt>
                <c:pt idx="8">
                  <c:v>0.22856998037928503</c:v>
                </c:pt>
                <c:pt idx="9">
                  <c:v>0.10314664132259938</c:v>
                </c:pt>
                <c:pt idx="10">
                  <c:v>0.0642047485418804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527667394670337</c:v>
                </c:pt>
                <c:pt idx="1">
                  <c:v>0.010598397611318512</c:v>
                </c:pt>
                <c:pt idx="2">
                  <c:v>0.01716149788998878</c:v>
                </c:pt>
                <c:pt idx="3">
                  <c:v>0.06657601141707845</c:v>
                </c:pt>
                <c:pt idx="4">
                  <c:v>0.049079788619134326</c:v>
                </c:pt>
                <c:pt idx="5">
                  <c:v>0.1185220621878273</c:v>
                </c:pt>
                <c:pt idx="6">
                  <c:v>0.13215882489295885</c:v>
                </c:pt>
                <c:pt idx="7">
                  <c:v>0.17983556640418588</c:v>
                </c:pt>
                <c:pt idx="8">
                  <c:v>0.23095884548151405</c:v>
                </c:pt>
                <c:pt idx="9">
                  <c:v>0.10991926140650649</c:v>
                </c:pt>
                <c:pt idx="10">
                  <c:v>0.06866207669481703</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900747823278864</c:v>
                </c:pt>
                <c:pt idx="1">
                  <c:v>0.0022975844533108533</c:v>
                </c:pt>
                <c:pt idx="2">
                  <c:v>0.0063721832249015575</c:v>
                </c:pt>
                <c:pt idx="3">
                  <c:v>0.027246964413888044</c:v>
                </c:pt>
                <c:pt idx="4">
                  <c:v>0.008844777006694886</c:v>
                </c:pt>
                <c:pt idx="5">
                  <c:v>0.016166851103922648</c:v>
                </c:pt>
                <c:pt idx="6">
                  <c:v>0.006119915504828314</c:v>
                </c:pt>
                <c:pt idx="7">
                  <c:v>0.029582010116621038</c:v>
                </c:pt>
                <c:pt idx="8">
                  <c:v>0.020056514307340463</c:v>
                </c:pt>
                <c:pt idx="9">
                  <c:v>0.0118727688582591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4/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4/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4/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4/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4/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4/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 Id="rId17" Type="http://schemas.openxmlformats.org/officeDocument/2006/relationships/chart" Target="../charts/chart1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 Id="rId8" Type="http://schemas.openxmlformats.org/officeDocument/2006/relationships/chart" Target="../charts/chart111.xml"/><Relationship Id="rId9" Type="http://schemas.openxmlformats.org/officeDocument/2006/relationships/chart" Target="../charts/chart112.xml"/><Relationship Id="rId10" Type="http://schemas.openxmlformats.org/officeDocument/2006/relationships/chart" Target="../charts/chart113.xml"/><Relationship Id="rId11" Type="http://schemas.openxmlformats.org/officeDocument/2006/relationships/chart" Target="../charts/chart114.xml"/><Relationship Id="rId12" Type="http://schemas.openxmlformats.org/officeDocument/2006/relationships/chart" Target="../charts/chart115.xml"/><Relationship Id="rId13" Type="http://schemas.openxmlformats.org/officeDocument/2006/relationships/chart" Target="../charts/chart116.xml"/><Relationship Id="rId14" Type="http://schemas.openxmlformats.org/officeDocument/2006/relationships/chart" Target="../charts/chart117.xml"/><Relationship Id="rId15" Type="http://schemas.openxmlformats.org/officeDocument/2006/relationships/chart" Target="../charts/chart118.xml"/><Relationship Id="rId16" Type="http://schemas.openxmlformats.org/officeDocument/2006/relationships/chart" Target="../charts/chart119.xml"/><Relationship Id="rId17" Type="http://schemas.openxmlformats.org/officeDocument/2006/relationships/chart" Target="../charts/chart1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 Id="rId14" Type="http://schemas.openxmlformats.org/officeDocument/2006/relationships/chart" Target="../charts/chart129.xml"/><Relationship Id="rId15" Type="http://schemas.openxmlformats.org/officeDocument/2006/relationships/chart" Target="../charts/chart130.xml"/><Relationship Id="rId16" Type="http://schemas.openxmlformats.org/officeDocument/2006/relationships/chart" Target="../charts/chart131.xml"/><Relationship Id="rId17" Type="http://schemas.openxmlformats.org/officeDocument/2006/relationships/chart" Target="../charts/chart13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 Id="rId17" Type="http://schemas.openxmlformats.org/officeDocument/2006/relationships/chart" Target="../charts/chart14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 Id="rId14" Type="http://schemas.openxmlformats.org/officeDocument/2006/relationships/chart" Target="../charts/chart153.xml"/><Relationship Id="rId15" Type="http://schemas.openxmlformats.org/officeDocument/2006/relationships/chart" Target="../charts/chart154.xml"/><Relationship Id="rId16" Type="http://schemas.openxmlformats.org/officeDocument/2006/relationships/chart" Target="../charts/chart155.xml"/><Relationship Id="rId17" Type="http://schemas.openxmlformats.org/officeDocument/2006/relationships/chart" Target="../charts/chart15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 Id="rId7" Type="http://schemas.openxmlformats.org/officeDocument/2006/relationships/chart" Target="../charts/chart158.xml"/><Relationship Id="rId8" Type="http://schemas.openxmlformats.org/officeDocument/2006/relationships/chart" Target="../charts/chart159.xml"/><Relationship Id="rId9" Type="http://schemas.openxmlformats.org/officeDocument/2006/relationships/chart" Target="../charts/chart160.xml"/><Relationship Id="rId10" Type="http://schemas.openxmlformats.org/officeDocument/2006/relationships/chart" Target="../charts/chart161.xml"/><Relationship Id="rId11" Type="http://schemas.openxmlformats.org/officeDocument/2006/relationships/chart" Target="../charts/chart162.xml"/><Relationship Id="rId12" Type="http://schemas.openxmlformats.org/officeDocument/2006/relationships/chart" Target="../charts/chart163.xml"/><Relationship Id="rId13" Type="http://schemas.openxmlformats.org/officeDocument/2006/relationships/chart" Target="../charts/chart164.xml"/><Relationship Id="rId14" Type="http://schemas.openxmlformats.org/officeDocument/2006/relationships/chart" Target="../charts/chart165.xml"/><Relationship Id="rId15" Type="http://schemas.openxmlformats.org/officeDocument/2006/relationships/chart" Target="../charts/chart166.xml"/><Relationship Id="rId16" Type="http://schemas.openxmlformats.org/officeDocument/2006/relationships/chart" Target="../charts/chart167.xml"/><Relationship Id="rId17" Type="http://schemas.openxmlformats.org/officeDocument/2006/relationships/chart" Target="../charts/chart16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 Id="rId14" Type="http://schemas.openxmlformats.org/officeDocument/2006/relationships/chart" Target="../charts/chart177.xml"/><Relationship Id="rId15" Type="http://schemas.openxmlformats.org/officeDocument/2006/relationships/chart" Target="../charts/chart178.xml"/><Relationship Id="rId16" Type="http://schemas.openxmlformats.org/officeDocument/2006/relationships/chart" Target="../charts/chart179.xml"/><Relationship Id="rId17" Type="http://schemas.openxmlformats.org/officeDocument/2006/relationships/chart" Target="../charts/chart18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 Id="rId7" Type="http://schemas.openxmlformats.org/officeDocument/2006/relationships/chart" Target="../charts/chart182.xml"/><Relationship Id="rId8" Type="http://schemas.openxmlformats.org/officeDocument/2006/relationships/chart" Target="../charts/chart183.xml"/><Relationship Id="rId9" Type="http://schemas.openxmlformats.org/officeDocument/2006/relationships/chart" Target="../charts/chart184.xml"/><Relationship Id="rId10" Type="http://schemas.openxmlformats.org/officeDocument/2006/relationships/chart" Target="../charts/chart185.xml"/><Relationship Id="rId11" Type="http://schemas.openxmlformats.org/officeDocument/2006/relationships/chart" Target="../charts/chart186.xml"/><Relationship Id="rId12" Type="http://schemas.openxmlformats.org/officeDocument/2006/relationships/chart" Target="../charts/chart187.xml"/><Relationship Id="rId13" Type="http://schemas.openxmlformats.org/officeDocument/2006/relationships/chart" Target="../charts/chart188.xml"/><Relationship Id="rId14" Type="http://schemas.openxmlformats.org/officeDocument/2006/relationships/chart" Target="../charts/chart189.xml"/><Relationship Id="rId15" Type="http://schemas.openxmlformats.org/officeDocument/2006/relationships/chart" Target="../charts/chart190.xml"/><Relationship Id="rId16" Type="http://schemas.openxmlformats.org/officeDocument/2006/relationships/chart" Target="../charts/chart191.xml"/><Relationship Id="rId17" Type="http://schemas.openxmlformats.org/officeDocument/2006/relationships/chart" Target="../charts/chart19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 Id="rId14" Type="http://schemas.openxmlformats.org/officeDocument/2006/relationships/chart" Target="../charts/chart201.xml"/><Relationship Id="rId15" Type="http://schemas.openxmlformats.org/officeDocument/2006/relationships/chart" Target="../charts/chart202.xml"/><Relationship Id="rId16" Type="http://schemas.openxmlformats.org/officeDocument/2006/relationships/chart" Target="../charts/chart203.xml"/><Relationship Id="rId17" Type="http://schemas.openxmlformats.org/officeDocument/2006/relationships/chart" Target="../charts/chart20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 Id="rId7" Type="http://schemas.openxmlformats.org/officeDocument/2006/relationships/chart" Target="../charts/chart206.xml"/><Relationship Id="rId8" Type="http://schemas.openxmlformats.org/officeDocument/2006/relationships/chart" Target="../charts/chart207.xml"/><Relationship Id="rId9" Type="http://schemas.openxmlformats.org/officeDocument/2006/relationships/chart" Target="../charts/chart208.xml"/><Relationship Id="rId10" Type="http://schemas.openxmlformats.org/officeDocument/2006/relationships/chart" Target="../charts/chart209.xml"/><Relationship Id="rId11" Type="http://schemas.openxmlformats.org/officeDocument/2006/relationships/chart" Target="../charts/chart210.xml"/><Relationship Id="rId12" Type="http://schemas.openxmlformats.org/officeDocument/2006/relationships/chart" Target="../charts/chart211.xml"/><Relationship Id="rId13" Type="http://schemas.openxmlformats.org/officeDocument/2006/relationships/chart" Target="../charts/chart212.xml"/><Relationship Id="rId14" Type="http://schemas.openxmlformats.org/officeDocument/2006/relationships/chart" Target="../charts/chart213.xml"/><Relationship Id="rId15" Type="http://schemas.openxmlformats.org/officeDocument/2006/relationships/chart" Target="../charts/chart214.xml"/><Relationship Id="rId16" Type="http://schemas.openxmlformats.org/officeDocument/2006/relationships/chart" Target="../charts/chart215.xml"/><Relationship Id="rId17" Type="http://schemas.openxmlformats.org/officeDocument/2006/relationships/chart" Target="../charts/chart21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 Id="rId14" Type="http://schemas.openxmlformats.org/officeDocument/2006/relationships/chart" Target="../charts/chart225.xml"/><Relationship Id="rId15" Type="http://schemas.openxmlformats.org/officeDocument/2006/relationships/chart" Target="../charts/chart226.xml"/><Relationship Id="rId16" Type="http://schemas.openxmlformats.org/officeDocument/2006/relationships/chart" Target="../charts/chart227.xml"/><Relationship Id="rId17" Type="http://schemas.openxmlformats.org/officeDocument/2006/relationships/chart" Target="../charts/chart22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 Id="rId8" Type="http://schemas.openxmlformats.org/officeDocument/2006/relationships/chart" Target="../charts/chart15.xml"/><Relationship Id="rId9" Type="http://schemas.openxmlformats.org/officeDocument/2006/relationships/chart" Target="../charts/chart16.xml"/><Relationship Id="rId10" Type="http://schemas.openxmlformats.org/officeDocument/2006/relationships/chart" Target="../charts/chart17.xml"/><Relationship Id="rId11" Type="http://schemas.openxmlformats.org/officeDocument/2006/relationships/chart" Target="../charts/chart18.xml"/><Relationship Id="rId12" Type="http://schemas.openxmlformats.org/officeDocument/2006/relationships/chart" Target="../charts/chart19.xml"/><Relationship Id="rId13" Type="http://schemas.openxmlformats.org/officeDocument/2006/relationships/chart" Target="../charts/chart20.xml"/><Relationship Id="rId14" Type="http://schemas.openxmlformats.org/officeDocument/2006/relationships/chart" Target="../charts/chart21.xml"/><Relationship Id="rId15" Type="http://schemas.openxmlformats.org/officeDocument/2006/relationships/chart" Target="../charts/chart22.xml"/><Relationship Id="rId16" Type="http://schemas.openxmlformats.org/officeDocument/2006/relationships/chart" Target="../charts/chart23.xml"/><Relationship Id="rId17" Type="http://schemas.openxmlformats.org/officeDocument/2006/relationships/chart" Target="../charts/chart2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 Id="rId7" Type="http://schemas.openxmlformats.org/officeDocument/2006/relationships/chart" Target="../charts/chart230.xml"/><Relationship Id="rId8" Type="http://schemas.openxmlformats.org/officeDocument/2006/relationships/chart" Target="../charts/chart231.xml"/><Relationship Id="rId9" Type="http://schemas.openxmlformats.org/officeDocument/2006/relationships/chart" Target="../charts/chart232.xml"/><Relationship Id="rId10" Type="http://schemas.openxmlformats.org/officeDocument/2006/relationships/chart" Target="../charts/chart233.xml"/><Relationship Id="rId11" Type="http://schemas.openxmlformats.org/officeDocument/2006/relationships/chart" Target="../charts/chart234.xml"/><Relationship Id="rId12" Type="http://schemas.openxmlformats.org/officeDocument/2006/relationships/chart" Target="../charts/chart235.xml"/><Relationship Id="rId13" Type="http://schemas.openxmlformats.org/officeDocument/2006/relationships/chart" Target="../charts/chart236.xml"/><Relationship Id="rId14" Type="http://schemas.openxmlformats.org/officeDocument/2006/relationships/chart" Target="../charts/chart237.xml"/><Relationship Id="rId15" Type="http://schemas.openxmlformats.org/officeDocument/2006/relationships/chart" Target="../charts/chart238.xml"/><Relationship Id="rId16" Type="http://schemas.openxmlformats.org/officeDocument/2006/relationships/chart" Target="../charts/chart239.xml"/><Relationship Id="rId17" Type="http://schemas.openxmlformats.org/officeDocument/2006/relationships/chart" Target="../charts/chart2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 Id="rId14" Type="http://schemas.openxmlformats.org/officeDocument/2006/relationships/chart" Target="../charts/chart249.xml"/><Relationship Id="rId15" Type="http://schemas.openxmlformats.org/officeDocument/2006/relationships/chart" Target="../charts/chart250.xml"/><Relationship Id="rId16" Type="http://schemas.openxmlformats.org/officeDocument/2006/relationships/chart" Target="../charts/chart251.xml"/><Relationship Id="rId17" Type="http://schemas.openxmlformats.org/officeDocument/2006/relationships/chart" Target="../charts/chart25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 Id="rId7" Type="http://schemas.openxmlformats.org/officeDocument/2006/relationships/chart" Target="../charts/chart254.xml"/><Relationship Id="rId8" Type="http://schemas.openxmlformats.org/officeDocument/2006/relationships/chart" Target="../charts/chart255.xml"/><Relationship Id="rId9" Type="http://schemas.openxmlformats.org/officeDocument/2006/relationships/chart" Target="../charts/chart256.xml"/><Relationship Id="rId10" Type="http://schemas.openxmlformats.org/officeDocument/2006/relationships/chart" Target="../charts/chart257.xml"/><Relationship Id="rId11" Type="http://schemas.openxmlformats.org/officeDocument/2006/relationships/chart" Target="../charts/chart258.xml"/><Relationship Id="rId12" Type="http://schemas.openxmlformats.org/officeDocument/2006/relationships/chart" Target="../charts/chart259.xml"/><Relationship Id="rId13" Type="http://schemas.openxmlformats.org/officeDocument/2006/relationships/chart" Target="../charts/chart260.xml"/><Relationship Id="rId14" Type="http://schemas.openxmlformats.org/officeDocument/2006/relationships/chart" Target="../charts/chart261.xml"/><Relationship Id="rId15" Type="http://schemas.openxmlformats.org/officeDocument/2006/relationships/chart" Target="../charts/chart262.xml"/><Relationship Id="rId16" Type="http://schemas.openxmlformats.org/officeDocument/2006/relationships/chart" Target="../charts/chart263.xml"/><Relationship Id="rId17" Type="http://schemas.openxmlformats.org/officeDocument/2006/relationships/chart" Target="../charts/chart26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 Id="rId17" Type="http://schemas.openxmlformats.org/officeDocument/2006/relationships/chart" Target="../charts/chart27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 Id="rId7" Type="http://schemas.openxmlformats.org/officeDocument/2006/relationships/chart" Target="../charts/chart278.xml"/><Relationship Id="rId8" Type="http://schemas.openxmlformats.org/officeDocument/2006/relationships/chart" Target="../charts/chart279.xml"/><Relationship Id="rId9" Type="http://schemas.openxmlformats.org/officeDocument/2006/relationships/chart" Target="../charts/chart280.xml"/><Relationship Id="rId10" Type="http://schemas.openxmlformats.org/officeDocument/2006/relationships/chart" Target="../charts/chart281.xml"/><Relationship Id="rId11" Type="http://schemas.openxmlformats.org/officeDocument/2006/relationships/chart" Target="../charts/chart282.xml"/><Relationship Id="rId12" Type="http://schemas.openxmlformats.org/officeDocument/2006/relationships/chart" Target="../charts/chart283.xml"/><Relationship Id="rId13" Type="http://schemas.openxmlformats.org/officeDocument/2006/relationships/chart" Target="../charts/chart284.xml"/><Relationship Id="rId14" Type="http://schemas.openxmlformats.org/officeDocument/2006/relationships/chart" Target="../charts/chart285.xml"/><Relationship Id="rId15" Type="http://schemas.openxmlformats.org/officeDocument/2006/relationships/chart" Target="../charts/chart286.xml"/><Relationship Id="rId16" Type="http://schemas.openxmlformats.org/officeDocument/2006/relationships/chart" Target="../charts/chart287.xml"/><Relationship Id="rId17" Type="http://schemas.openxmlformats.org/officeDocument/2006/relationships/chart" Target="../charts/chart28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 Id="rId8" Type="http://schemas.openxmlformats.org/officeDocument/2006/relationships/chart" Target="../charts/chart291.xml"/><Relationship Id="rId9" Type="http://schemas.openxmlformats.org/officeDocument/2006/relationships/chart" Target="../charts/chart292.xml"/><Relationship Id="rId10" Type="http://schemas.openxmlformats.org/officeDocument/2006/relationships/chart" Target="../charts/chart293.xml"/><Relationship Id="rId11" Type="http://schemas.openxmlformats.org/officeDocument/2006/relationships/chart" Target="../charts/chart294.xml"/><Relationship Id="rId12" Type="http://schemas.openxmlformats.org/officeDocument/2006/relationships/chart" Target="../charts/chart295.xml"/><Relationship Id="rId13" Type="http://schemas.openxmlformats.org/officeDocument/2006/relationships/chart" Target="../charts/chart296.xml"/><Relationship Id="rId14" Type="http://schemas.openxmlformats.org/officeDocument/2006/relationships/chart" Target="../charts/chart297.xml"/><Relationship Id="rId15" Type="http://schemas.openxmlformats.org/officeDocument/2006/relationships/chart" Target="../charts/chart298.xml"/><Relationship Id="rId16" Type="http://schemas.openxmlformats.org/officeDocument/2006/relationships/chart" Target="../charts/chart299.xml"/><Relationship Id="rId17" Type="http://schemas.openxmlformats.org/officeDocument/2006/relationships/chart" Target="../charts/chart3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1.xml"/><Relationship Id="rId7" Type="http://schemas.openxmlformats.org/officeDocument/2006/relationships/chart" Target="../charts/chart302.xml"/><Relationship Id="rId8" Type="http://schemas.openxmlformats.org/officeDocument/2006/relationships/chart" Target="../charts/chart303.xml"/><Relationship Id="rId9" Type="http://schemas.openxmlformats.org/officeDocument/2006/relationships/chart" Target="../charts/chart304.xml"/><Relationship Id="rId10" Type="http://schemas.openxmlformats.org/officeDocument/2006/relationships/chart" Target="../charts/chart305.xml"/><Relationship Id="rId11" Type="http://schemas.openxmlformats.org/officeDocument/2006/relationships/chart" Target="../charts/chart306.xml"/><Relationship Id="rId12" Type="http://schemas.openxmlformats.org/officeDocument/2006/relationships/chart" Target="../charts/chart307.xml"/><Relationship Id="rId13" Type="http://schemas.openxmlformats.org/officeDocument/2006/relationships/chart" Target="../charts/chart308.xml"/><Relationship Id="rId14" Type="http://schemas.openxmlformats.org/officeDocument/2006/relationships/chart" Target="../charts/chart309.xml"/><Relationship Id="rId15" Type="http://schemas.openxmlformats.org/officeDocument/2006/relationships/chart" Target="../charts/chart310.xml"/><Relationship Id="rId16" Type="http://schemas.openxmlformats.org/officeDocument/2006/relationships/chart" Target="../charts/chart311.xml"/><Relationship Id="rId17" Type="http://schemas.openxmlformats.org/officeDocument/2006/relationships/chart" Target="../charts/chart312.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xml"/><Relationship Id="rId7" Type="http://schemas.openxmlformats.org/officeDocument/2006/relationships/chart" Target="../charts/chart314.xml"/><Relationship Id="rId8" Type="http://schemas.openxmlformats.org/officeDocument/2006/relationships/chart" Target="../charts/chart315.xml"/><Relationship Id="rId9" Type="http://schemas.openxmlformats.org/officeDocument/2006/relationships/chart" Target="../charts/chart316.xml"/><Relationship Id="rId10" Type="http://schemas.openxmlformats.org/officeDocument/2006/relationships/chart" Target="../charts/chart317.xml"/><Relationship Id="rId11" Type="http://schemas.openxmlformats.org/officeDocument/2006/relationships/chart" Target="../charts/chart318.xml"/><Relationship Id="rId12" Type="http://schemas.openxmlformats.org/officeDocument/2006/relationships/chart" Target="../charts/chart319.xml"/><Relationship Id="rId13" Type="http://schemas.openxmlformats.org/officeDocument/2006/relationships/chart" Target="../charts/chart320.xml"/><Relationship Id="rId14" Type="http://schemas.openxmlformats.org/officeDocument/2006/relationships/chart" Target="../charts/chart321.xml"/><Relationship Id="rId15" Type="http://schemas.openxmlformats.org/officeDocument/2006/relationships/chart" Target="../charts/chart322.xml"/><Relationship Id="rId16" Type="http://schemas.openxmlformats.org/officeDocument/2006/relationships/chart" Target="../charts/chart323.xml"/><Relationship Id="rId17" Type="http://schemas.openxmlformats.org/officeDocument/2006/relationships/chart" Target="../charts/chart324.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5.xml"/><Relationship Id="rId7" Type="http://schemas.openxmlformats.org/officeDocument/2006/relationships/chart" Target="../charts/chart326.xml"/><Relationship Id="rId8" Type="http://schemas.openxmlformats.org/officeDocument/2006/relationships/chart" Target="../charts/chart327.xml"/><Relationship Id="rId9" Type="http://schemas.openxmlformats.org/officeDocument/2006/relationships/chart" Target="../charts/chart328.xml"/><Relationship Id="rId10" Type="http://schemas.openxmlformats.org/officeDocument/2006/relationships/chart" Target="../charts/chart329.xml"/><Relationship Id="rId11" Type="http://schemas.openxmlformats.org/officeDocument/2006/relationships/chart" Target="../charts/chart330.xml"/><Relationship Id="rId12" Type="http://schemas.openxmlformats.org/officeDocument/2006/relationships/chart" Target="../charts/chart331.xml"/><Relationship Id="rId13" Type="http://schemas.openxmlformats.org/officeDocument/2006/relationships/chart" Target="../charts/chart332.xml"/><Relationship Id="rId14" Type="http://schemas.openxmlformats.org/officeDocument/2006/relationships/chart" Target="../charts/chart333.xml"/><Relationship Id="rId15" Type="http://schemas.openxmlformats.org/officeDocument/2006/relationships/chart" Target="../charts/chart334.xml"/><Relationship Id="rId16" Type="http://schemas.openxmlformats.org/officeDocument/2006/relationships/chart" Target="../charts/chart335.xml"/><Relationship Id="rId17" Type="http://schemas.openxmlformats.org/officeDocument/2006/relationships/chart" Target="../charts/chart336.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7.xml"/><Relationship Id="rId7" Type="http://schemas.openxmlformats.org/officeDocument/2006/relationships/chart" Target="../charts/chart338.xml"/><Relationship Id="rId8" Type="http://schemas.openxmlformats.org/officeDocument/2006/relationships/chart" Target="../charts/chart339.xml"/><Relationship Id="rId9" Type="http://schemas.openxmlformats.org/officeDocument/2006/relationships/chart" Target="../charts/chart340.xml"/><Relationship Id="rId10" Type="http://schemas.openxmlformats.org/officeDocument/2006/relationships/chart" Target="../charts/chart341.xml"/><Relationship Id="rId11" Type="http://schemas.openxmlformats.org/officeDocument/2006/relationships/chart" Target="../charts/chart342.xml"/><Relationship Id="rId12" Type="http://schemas.openxmlformats.org/officeDocument/2006/relationships/chart" Target="../charts/chart343.xml"/><Relationship Id="rId13" Type="http://schemas.openxmlformats.org/officeDocument/2006/relationships/chart" Target="../charts/chart344.xml"/><Relationship Id="rId14" Type="http://schemas.openxmlformats.org/officeDocument/2006/relationships/chart" Target="../charts/chart345.xml"/><Relationship Id="rId15" Type="http://schemas.openxmlformats.org/officeDocument/2006/relationships/chart" Target="../charts/chart346.xml"/><Relationship Id="rId16" Type="http://schemas.openxmlformats.org/officeDocument/2006/relationships/chart" Target="../charts/chart347.xml"/><Relationship Id="rId17" Type="http://schemas.openxmlformats.org/officeDocument/2006/relationships/chart" Target="../charts/chart348.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 Id="rId14" Type="http://schemas.openxmlformats.org/officeDocument/2006/relationships/chart" Target="../charts/chart33.xml"/><Relationship Id="rId15" Type="http://schemas.openxmlformats.org/officeDocument/2006/relationships/chart" Target="../charts/chart34.xml"/><Relationship Id="rId16" Type="http://schemas.openxmlformats.org/officeDocument/2006/relationships/chart" Target="../charts/chart35.xml"/><Relationship Id="rId17" Type="http://schemas.openxmlformats.org/officeDocument/2006/relationships/chart" Target="../charts/chart36.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9.xml"/><Relationship Id="rId7" Type="http://schemas.openxmlformats.org/officeDocument/2006/relationships/chart" Target="../charts/chart350.xml"/><Relationship Id="rId8" Type="http://schemas.openxmlformats.org/officeDocument/2006/relationships/chart" Target="../charts/chart351.xml"/><Relationship Id="rId9" Type="http://schemas.openxmlformats.org/officeDocument/2006/relationships/chart" Target="../charts/chart352.xml"/><Relationship Id="rId10" Type="http://schemas.openxmlformats.org/officeDocument/2006/relationships/chart" Target="../charts/chart353.xml"/><Relationship Id="rId11" Type="http://schemas.openxmlformats.org/officeDocument/2006/relationships/chart" Target="../charts/chart354.xml"/><Relationship Id="rId12" Type="http://schemas.openxmlformats.org/officeDocument/2006/relationships/chart" Target="../charts/chart355.xml"/><Relationship Id="rId13" Type="http://schemas.openxmlformats.org/officeDocument/2006/relationships/chart" Target="../charts/chart356.xml"/><Relationship Id="rId14" Type="http://schemas.openxmlformats.org/officeDocument/2006/relationships/chart" Target="../charts/chart357.xml"/><Relationship Id="rId15" Type="http://schemas.openxmlformats.org/officeDocument/2006/relationships/chart" Target="../charts/chart358.xml"/><Relationship Id="rId16" Type="http://schemas.openxmlformats.org/officeDocument/2006/relationships/chart" Target="../charts/chart359.xml"/><Relationship Id="rId17" Type="http://schemas.openxmlformats.org/officeDocument/2006/relationships/chart" Target="../charts/chart36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1.xml"/><Relationship Id="rId7" Type="http://schemas.openxmlformats.org/officeDocument/2006/relationships/chart" Target="../charts/chart362.xml"/><Relationship Id="rId8" Type="http://schemas.openxmlformats.org/officeDocument/2006/relationships/chart" Target="../charts/chart363.xml"/><Relationship Id="rId9" Type="http://schemas.openxmlformats.org/officeDocument/2006/relationships/chart" Target="../charts/chart364.xml"/><Relationship Id="rId10" Type="http://schemas.openxmlformats.org/officeDocument/2006/relationships/chart" Target="../charts/chart365.xml"/><Relationship Id="rId11" Type="http://schemas.openxmlformats.org/officeDocument/2006/relationships/chart" Target="../charts/chart366.xml"/><Relationship Id="rId12" Type="http://schemas.openxmlformats.org/officeDocument/2006/relationships/chart" Target="../charts/chart367.xml"/><Relationship Id="rId13" Type="http://schemas.openxmlformats.org/officeDocument/2006/relationships/chart" Target="../charts/chart368.xml"/><Relationship Id="rId14" Type="http://schemas.openxmlformats.org/officeDocument/2006/relationships/chart" Target="../charts/chart369.xml"/><Relationship Id="rId15" Type="http://schemas.openxmlformats.org/officeDocument/2006/relationships/chart" Target="../charts/chart370.xml"/><Relationship Id="rId16" Type="http://schemas.openxmlformats.org/officeDocument/2006/relationships/chart" Target="../charts/chart371.xml"/><Relationship Id="rId17" Type="http://schemas.openxmlformats.org/officeDocument/2006/relationships/chart" Target="../charts/chart372.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3.xml"/><Relationship Id="rId7" Type="http://schemas.openxmlformats.org/officeDocument/2006/relationships/chart" Target="../charts/chart374.xml"/><Relationship Id="rId8" Type="http://schemas.openxmlformats.org/officeDocument/2006/relationships/chart" Target="../charts/chart375.xml"/><Relationship Id="rId9" Type="http://schemas.openxmlformats.org/officeDocument/2006/relationships/chart" Target="../charts/chart376.xml"/><Relationship Id="rId10" Type="http://schemas.openxmlformats.org/officeDocument/2006/relationships/chart" Target="../charts/chart377.xml"/><Relationship Id="rId11" Type="http://schemas.openxmlformats.org/officeDocument/2006/relationships/chart" Target="../charts/chart378.xml"/><Relationship Id="rId12" Type="http://schemas.openxmlformats.org/officeDocument/2006/relationships/chart" Target="../charts/chart379.xml"/><Relationship Id="rId13" Type="http://schemas.openxmlformats.org/officeDocument/2006/relationships/chart" Target="../charts/chart380.xml"/><Relationship Id="rId14" Type="http://schemas.openxmlformats.org/officeDocument/2006/relationships/chart" Target="../charts/chart381.xml"/><Relationship Id="rId15" Type="http://schemas.openxmlformats.org/officeDocument/2006/relationships/chart" Target="../charts/chart382.xml"/><Relationship Id="rId16" Type="http://schemas.openxmlformats.org/officeDocument/2006/relationships/chart" Target="../charts/chart383.xml"/><Relationship Id="rId17" Type="http://schemas.openxmlformats.org/officeDocument/2006/relationships/chart" Target="../charts/chart384.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5.xml"/><Relationship Id="rId7" Type="http://schemas.openxmlformats.org/officeDocument/2006/relationships/chart" Target="../charts/chart386.xml"/><Relationship Id="rId8" Type="http://schemas.openxmlformats.org/officeDocument/2006/relationships/chart" Target="../charts/chart387.xml"/><Relationship Id="rId9" Type="http://schemas.openxmlformats.org/officeDocument/2006/relationships/chart" Target="../charts/chart388.xml"/><Relationship Id="rId10" Type="http://schemas.openxmlformats.org/officeDocument/2006/relationships/chart" Target="../charts/chart389.xml"/><Relationship Id="rId11" Type="http://schemas.openxmlformats.org/officeDocument/2006/relationships/chart" Target="../charts/chart390.xml"/><Relationship Id="rId12" Type="http://schemas.openxmlformats.org/officeDocument/2006/relationships/chart" Target="../charts/chart391.xml"/><Relationship Id="rId13" Type="http://schemas.openxmlformats.org/officeDocument/2006/relationships/chart" Target="../charts/chart392.xml"/><Relationship Id="rId14" Type="http://schemas.openxmlformats.org/officeDocument/2006/relationships/chart" Target="../charts/chart393.xml"/><Relationship Id="rId15" Type="http://schemas.openxmlformats.org/officeDocument/2006/relationships/chart" Target="../charts/chart394.xml"/><Relationship Id="rId16" Type="http://schemas.openxmlformats.org/officeDocument/2006/relationships/chart" Target="../charts/chart395.xml"/><Relationship Id="rId17" Type="http://schemas.openxmlformats.org/officeDocument/2006/relationships/chart" Target="../charts/chart396.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7.xml"/><Relationship Id="rId7" Type="http://schemas.openxmlformats.org/officeDocument/2006/relationships/chart" Target="../charts/chart398.xml"/><Relationship Id="rId8" Type="http://schemas.openxmlformats.org/officeDocument/2006/relationships/chart" Target="../charts/chart399.xml"/><Relationship Id="rId9" Type="http://schemas.openxmlformats.org/officeDocument/2006/relationships/chart" Target="../charts/chart400.xml"/><Relationship Id="rId10" Type="http://schemas.openxmlformats.org/officeDocument/2006/relationships/chart" Target="../charts/chart401.xml"/><Relationship Id="rId11" Type="http://schemas.openxmlformats.org/officeDocument/2006/relationships/chart" Target="../charts/chart402.xml"/><Relationship Id="rId12" Type="http://schemas.openxmlformats.org/officeDocument/2006/relationships/chart" Target="../charts/chart403.xml"/><Relationship Id="rId13" Type="http://schemas.openxmlformats.org/officeDocument/2006/relationships/chart" Target="../charts/chart404.xml"/><Relationship Id="rId14" Type="http://schemas.openxmlformats.org/officeDocument/2006/relationships/chart" Target="../charts/chart405.xml"/><Relationship Id="rId15" Type="http://schemas.openxmlformats.org/officeDocument/2006/relationships/chart" Target="../charts/chart406.xml"/><Relationship Id="rId16" Type="http://schemas.openxmlformats.org/officeDocument/2006/relationships/chart" Target="../charts/chart407.xml"/><Relationship Id="rId17" Type="http://schemas.openxmlformats.org/officeDocument/2006/relationships/chart" Target="../charts/chart408.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9.xml"/><Relationship Id="rId7" Type="http://schemas.openxmlformats.org/officeDocument/2006/relationships/chart" Target="../charts/chart410.xml"/><Relationship Id="rId8" Type="http://schemas.openxmlformats.org/officeDocument/2006/relationships/chart" Target="../charts/chart411.xml"/><Relationship Id="rId9" Type="http://schemas.openxmlformats.org/officeDocument/2006/relationships/chart" Target="../charts/chart412.xml"/><Relationship Id="rId10" Type="http://schemas.openxmlformats.org/officeDocument/2006/relationships/chart" Target="../charts/chart413.xml"/><Relationship Id="rId11" Type="http://schemas.openxmlformats.org/officeDocument/2006/relationships/chart" Target="../charts/chart414.xml"/><Relationship Id="rId12" Type="http://schemas.openxmlformats.org/officeDocument/2006/relationships/chart" Target="../charts/chart415.xml"/><Relationship Id="rId13" Type="http://schemas.openxmlformats.org/officeDocument/2006/relationships/chart" Target="../charts/chart416.xml"/><Relationship Id="rId14" Type="http://schemas.openxmlformats.org/officeDocument/2006/relationships/chart" Target="../charts/chart417.xml"/><Relationship Id="rId15" Type="http://schemas.openxmlformats.org/officeDocument/2006/relationships/chart" Target="../charts/chart418.xml"/><Relationship Id="rId16" Type="http://schemas.openxmlformats.org/officeDocument/2006/relationships/chart" Target="../charts/chart419.xml"/><Relationship Id="rId17" Type="http://schemas.openxmlformats.org/officeDocument/2006/relationships/chart" Target="../charts/chart42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1.xml"/><Relationship Id="rId7" Type="http://schemas.openxmlformats.org/officeDocument/2006/relationships/chart" Target="../charts/chart422.xml"/><Relationship Id="rId8" Type="http://schemas.openxmlformats.org/officeDocument/2006/relationships/chart" Target="../charts/chart423.xml"/><Relationship Id="rId9" Type="http://schemas.openxmlformats.org/officeDocument/2006/relationships/chart" Target="../charts/chart424.xml"/><Relationship Id="rId10" Type="http://schemas.openxmlformats.org/officeDocument/2006/relationships/chart" Target="../charts/chart425.xml"/><Relationship Id="rId11" Type="http://schemas.openxmlformats.org/officeDocument/2006/relationships/chart" Target="../charts/chart426.xml"/><Relationship Id="rId12" Type="http://schemas.openxmlformats.org/officeDocument/2006/relationships/chart" Target="../charts/chart427.xml"/><Relationship Id="rId13" Type="http://schemas.openxmlformats.org/officeDocument/2006/relationships/chart" Target="../charts/chart428.xml"/><Relationship Id="rId14" Type="http://schemas.openxmlformats.org/officeDocument/2006/relationships/chart" Target="../charts/chart429.xml"/><Relationship Id="rId15" Type="http://schemas.openxmlformats.org/officeDocument/2006/relationships/chart" Target="../charts/chart430.xml"/><Relationship Id="rId16" Type="http://schemas.openxmlformats.org/officeDocument/2006/relationships/chart" Target="../charts/chart431.xml"/><Relationship Id="rId17" Type="http://schemas.openxmlformats.org/officeDocument/2006/relationships/chart" Target="../charts/chart432.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 Id="rId8" Type="http://schemas.openxmlformats.org/officeDocument/2006/relationships/chart" Target="../charts/chart39.xml"/><Relationship Id="rId9" Type="http://schemas.openxmlformats.org/officeDocument/2006/relationships/chart" Target="../charts/chart40.xml"/><Relationship Id="rId10" Type="http://schemas.openxmlformats.org/officeDocument/2006/relationships/chart" Target="../charts/chart41.xml"/><Relationship Id="rId11" Type="http://schemas.openxmlformats.org/officeDocument/2006/relationships/chart" Target="../charts/chart42.xml"/><Relationship Id="rId12" Type="http://schemas.openxmlformats.org/officeDocument/2006/relationships/chart" Target="../charts/chart43.xml"/><Relationship Id="rId13" Type="http://schemas.openxmlformats.org/officeDocument/2006/relationships/chart" Target="../charts/chart44.xml"/><Relationship Id="rId14" Type="http://schemas.openxmlformats.org/officeDocument/2006/relationships/chart" Target="../charts/chart45.xml"/><Relationship Id="rId15" Type="http://schemas.openxmlformats.org/officeDocument/2006/relationships/chart" Target="../charts/chart46.xml"/><Relationship Id="rId16" Type="http://schemas.openxmlformats.org/officeDocument/2006/relationships/chart" Target="../charts/chart47.xml"/><Relationship Id="rId17" Type="http://schemas.openxmlformats.org/officeDocument/2006/relationships/chart" Target="../charts/chart4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 Id="rId14" Type="http://schemas.openxmlformats.org/officeDocument/2006/relationships/chart" Target="../charts/chart57.xml"/><Relationship Id="rId15" Type="http://schemas.openxmlformats.org/officeDocument/2006/relationships/chart" Target="../charts/chart58.xml"/><Relationship Id="rId16" Type="http://schemas.openxmlformats.org/officeDocument/2006/relationships/chart" Target="../charts/chart59.xml"/><Relationship Id="rId17" Type="http://schemas.openxmlformats.org/officeDocument/2006/relationships/chart" Target="../charts/chart6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 Id="rId8" Type="http://schemas.openxmlformats.org/officeDocument/2006/relationships/chart" Target="../charts/chart63.xml"/><Relationship Id="rId9" Type="http://schemas.openxmlformats.org/officeDocument/2006/relationships/chart" Target="../charts/chart64.xml"/><Relationship Id="rId10" Type="http://schemas.openxmlformats.org/officeDocument/2006/relationships/chart" Target="../charts/chart65.xml"/><Relationship Id="rId11" Type="http://schemas.openxmlformats.org/officeDocument/2006/relationships/chart" Target="../charts/chart66.xml"/><Relationship Id="rId12" Type="http://schemas.openxmlformats.org/officeDocument/2006/relationships/chart" Target="../charts/chart67.xml"/><Relationship Id="rId13" Type="http://schemas.openxmlformats.org/officeDocument/2006/relationships/chart" Target="../charts/chart68.xml"/><Relationship Id="rId14" Type="http://schemas.openxmlformats.org/officeDocument/2006/relationships/chart" Target="../charts/chart69.xml"/><Relationship Id="rId15" Type="http://schemas.openxmlformats.org/officeDocument/2006/relationships/chart" Target="../charts/chart70.xml"/><Relationship Id="rId16" Type="http://schemas.openxmlformats.org/officeDocument/2006/relationships/chart" Target="../charts/chart71.xml"/><Relationship Id="rId17" Type="http://schemas.openxmlformats.org/officeDocument/2006/relationships/chart" Target="../charts/chart7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 Id="rId14" Type="http://schemas.openxmlformats.org/officeDocument/2006/relationships/chart" Target="../charts/chart81.xml"/><Relationship Id="rId15" Type="http://schemas.openxmlformats.org/officeDocument/2006/relationships/chart" Target="../charts/chart82.xml"/><Relationship Id="rId16" Type="http://schemas.openxmlformats.org/officeDocument/2006/relationships/chart" Target="../charts/chart83.xml"/><Relationship Id="rId17" Type="http://schemas.openxmlformats.org/officeDocument/2006/relationships/chart" Target="../charts/chart8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 Id="rId7" Type="http://schemas.openxmlformats.org/officeDocument/2006/relationships/chart" Target="../charts/chart86.xml"/><Relationship Id="rId8" Type="http://schemas.openxmlformats.org/officeDocument/2006/relationships/chart" Target="../charts/chart87.xml"/><Relationship Id="rId9" Type="http://schemas.openxmlformats.org/officeDocument/2006/relationships/chart" Target="../charts/chart88.xml"/><Relationship Id="rId10" Type="http://schemas.openxmlformats.org/officeDocument/2006/relationships/chart" Target="../charts/chart89.xml"/><Relationship Id="rId11" Type="http://schemas.openxmlformats.org/officeDocument/2006/relationships/chart" Target="../charts/chart90.xml"/><Relationship Id="rId12" Type="http://schemas.openxmlformats.org/officeDocument/2006/relationships/chart" Target="../charts/chart91.xml"/><Relationship Id="rId13" Type="http://schemas.openxmlformats.org/officeDocument/2006/relationships/chart" Target="../charts/chart92.xml"/><Relationship Id="rId14" Type="http://schemas.openxmlformats.org/officeDocument/2006/relationships/chart" Target="../charts/chart93.xml"/><Relationship Id="rId15" Type="http://schemas.openxmlformats.org/officeDocument/2006/relationships/chart" Target="../charts/chart94.xml"/><Relationship Id="rId16" Type="http://schemas.openxmlformats.org/officeDocument/2006/relationships/chart" Target="../charts/chart95.xml"/><Relationship Id="rId17" Type="http://schemas.openxmlformats.org/officeDocument/2006/relationships/chart" Target="../charts/chart9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 Id="rId14" Type="http://schemas.openxmlformats.org/officeDocument/2006/relationships/chart" Target="../charts/chart105.xml"/><Relationship Id="rId15" Type="http://schemas.openxmlformats.org/officeDocument/2006/relationships/chart" Target="../charts/chart106.xml"/><Relationship Id="rId16" Type="http://schemas.openxmlformats.org/officeDocument/2006/relationships/chart" Target="../charts/chart107.xml"/><Relationship Id="rId17" Type="http://schemas.openxmlformats.org/officeDocument/2006/relationships/chart" Target="../charts/chart1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3751071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1031832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0239586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3180829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8803928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4325344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5995458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5118076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037598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5234430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1845315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2459605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2801578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178823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5542018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2208314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40748285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062256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7654240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2731086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5660683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6828381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18080734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32508060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391647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17478320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0086928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25815114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92621860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131104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517561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3522519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2598808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4845470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5483150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2457418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5004</Words>
  <Application>Microsoft Office PowerPoint</Application>
  <PresentationFormat>On-screen Show (16:9)</PresentationFormat>
  <Paragraphs>1512</Paragraphs>
  <Slides>36</Slides>
  <Notes>3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7"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4T07:15: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